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2.xml" ContentType="application/vnd.openxmlformats-officedocument.theme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revisionInfo.xml" ContentType="application/vnd.ms-powerpoint.revisioninfo+xml"/>
  <Override PartName="/ppt/changesInfos/changesInfo1.xml" ContentType="application/vnd.ms-powerpoint.changesinfo+xml"/>
  <Override PartName="/ppt/authors.xml" ContentType="application/vnd.ms-powerpoint.author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9" r:id="rId5"/>
    <p:sldMasterId id="2147483693" r:id="rId6"/>
    <p:sldMasterId id="2147483723" r:id="rId7"/>
  </p:sldMasterIdLst>
  <p:notesMasterIdLst>
    <p:notesMasterId r:id="rId14"/>
  </p:notesMasterIdLst>
  <p:handoutMasterIdLst>
    <p:handoutMasterId r:id="rId15"/>
  </p:handoutMasterIdLst>
  <p:sldIdLst>
    <p:sldId id="316" r:id="rId8"/>
    <p:sldId id="323" r:id="rId9"/>
    <p:sldId id="322" r:id="rId10"/>
    <p:sldId id="321" r:id="rId11"/>
    <p:sldId id="320" r:id="rId12"/>
    <p:sldId id="318" r:id="rId13"/>
  </p:sldIdLst>
  <p:sldSz cx="12192000" cy="6858000"/>
  <p:notesSz cx="7099300" cy="10234613"/>
  <p:defaultTextStyle>
    <a:defPPr>
      <a:defRPr lang="de-DE"/>
    </a:defPPr>
    <a:lvl1pPr algn="l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Verdana" pitchFamily="34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Verdana" pitchFamily="34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Verdana" pitchFamily="34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Verdana" pitchFamily="34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Verdana" pitchFamily="34" charset="0"/>
        <a:ea typeface="+mn-ea"/>
        <a:cs typeface="+mn-cs"/>
      </a:defRPr>
    </a:lvl5pPr>
    <a:lvl6pPr marL="2286000" algn="l" defTabSz="914400" rtl="0" eaLnBrk="1" latinLnBrk="0" hangingPunct="1">
      <a:defRPr sz="1400" kern="1200">
        <a:solidFill>
          <a:schemeClr val="tx1"/>
        </a:solidFill>
        <a:latin typeface="Verdana" pitchFamily="34" charset="0"/>
        <a:ea typeface="+mn-ea"/>
        <a:cs typeface="+mn-cs"/>
      </a:defRPr>
    </a:lvl6pPr>
    <a:lvl7pPr marL="2743200" algn="l" defTabSz="914400" rtl="0" eaLnBrk="1" latinLnBrk="0" hangingPunct="1">
      <a:defRPr sz="1400" kern="1200">
        <a:solidFill>
          <a:schemeClr val="tx1"/>
        </a:solidFill>
        <a:latin typeface="Verdana" pitchFamily="34" charset="0"/>
        <a:ea typeface="+mn-ea"/>
        <a:cs typeface="+mn-cs"/>
      </a:defRPr>
    </a:lvl7pPr>
    <a:lvl8pPr marL="3200400" algn="l" defTabSz="914400" rtl="0" eaLnBrk="1" latinLnBrk="0" hangingPunct="1">
      <a:defRPr sz="1400" kern="1200">
        <a:solidFill>
          <a:schemeClr val="tx1"/>
        </a:solidFill>
        <a:latin typeface="Verdana" pitchFamily="34" charset="0"/>
        <a:ea typeface="+mn-ea"/>
        <a:cs typeface="+mn-cs"/>
      </a:defRPr>
    </a:lvl8pPr>
    <a:lvl9pPr marL="3657600" algn="l" defTabSz="914400" rtl="0" eaLnBrk="1" latinLnBrk="0" hangingPunct="1">
      <a:defRPr sz="1400" kern="1200">
        <a:solidFill>
          <a:schemeClr val="tx1"/>
        </a:solidFill>
        <a:latin typeface="Verdana" pitchFamily="34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845" userDrawn="1">
          <p15:clr>
            <a:srgbClr val="A4A3A4"/>
          </p15:clr>
        </p15:guide>
        <p15:guide id="3" orient="horz" pos="1321" userDrawn="1">
          <p15:clr>
            <a:srgbClr val="A4A3A4"/>
          </p15:clr>
        </p15:guide>
        <p15:guide id="4" orient="horz" pos="3521" userDrawn="1">
          <p15:clr>
            <a:srgbClr val="A4A3A4"/>
          </p15:clr>
        </p15:guide>
        <p15:guide id="5" orient="horz" pos="1706" userDrawn="1">
          <p15:clr>
            <a:srgbClr val="A4A3A4"/>
          </p15:clr>
        </p15:guide>
        <p15:guide id="6" pos="5564" userDrawn="1">
          <p15:clr>
            <a:srgbClr val="9FCC3B"/>
          </p15:clr>
        </p15:guide>
        <p15:guide id="7" orient="horz" pos="1026" userDrawn="1">
          <p15:clr>
            <a:srgbClr val="9FCC3B"/>
          </p15:clr>
        </p15:guide>
        <p15:guide id="8" pos="461" userDrawn="1">
          <p15:clr>
            <a:srgbClr val="9FCC3B"/>
          </p15:clr>
        </p15:guide>
        <p15:guide id="9" orient="horz" pos="3884" userDrawn="1">
          <p15:clr>
            <a:srgbClr val="9FCC3B"/>
          </p15:clr>
        </p15:guide>
        <p15:guide id="10" pos="4702" userDrawn="1">
          <p15:clr>
            <a:srgbClr val="9FCC3B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224" userDrawn="1">
          <p15:clr>
            <a:srgbClr val="A4A3A4"/>
          </p15:clr>
        </p15:guide>
        <p15:guide id="2" pos="2237" userDrawn="1">
          <p15:clr>
            <a:srgbClr val="A4A3A4"/>
          </p15:clr>
        </p15:guide>
      </p15:notes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D08AA13B-42D2-EEEA-9BB2-E682C2417FAA}" name="Christian Hengstermann | Lots*" initials="CH|L" userId="S::hengstermann@lots.de::d250871a-8a38-484d-8a85-e2fafa008dd9" providerId="AD"/>
  <p188:author id="{3124C942-8E35-2627-303C-EEF2A2F4E155}" name="Miriam Mathias | Lots*" initials="MM|L" userId="S::mathias@lots.de::3a307e93-64a6-49b7-8515-cea2707217ab" providerId="AD"/>
  <p188:author id="{5B6F6B5E-5123-548E-9BE4-D635AF11D1A5}" name="Henning Schulze | Lots*" initials="HS|L" userId="S::schulze@lots.de::baf657a5-bfd3-4868-bcb3-2412ec9cb06b" providerId="AD"/>
  <p188:author id="{306E4871-76DB-A442-EB9E-EA8D4A152425}" name="Gastbenutzer" initials="Ga" userId="S::urn:spo:anon#3d69b24379d4394f33c570afabd068659e5ee21bfc217d2e1d07706957a945f7::" providerId="AD"/>
  <p188:author id="{BACC3DC9-253C-2878-179F-9EA32667CA22}" name="Anna Ihle | Lots*" initials="AI|L" userId="S::ihle@lots.de::3ea5c4b9-6f21-4293-957f-1bb1ad7e1c2d" providerId="AD"/>
  <p188:author id="{972AE8D4-1600-766D-7E6B-F4E02EE79F4E}" name="Eva Herfurth | Lots*" initials="EH|L" userId="S::herfurth@lots.de::5d5f13d0-79cf-4d33-aab6-4bd7f28fd532" providerId="AD"/>
  <p188:author id="{9E06CFE0-7CF5-116F-E742-C8BE1E49877D}" name="Marianne Großmann | Lots*" initials="MG|L" userId="S::grossmann@lots.de::0589cd42-fc73-4413-b4a0-6ecace93bd40" providerId="AD"/>
  <p188:author id="{6898DEE2-F58A-3ED1-D523-AC8678507356}" name="Eva Weber | Lots*" initials="EL" userId="S::weber@lots.de::89679fcf-2412-45ea-962d-79d08324d02c" providerId="AD"/>
  <p188:author id="{98677AED-4AEA-F7F0-257C-CA5176613A76}" name="Jan Zederbohm | Lots*" initials="JL" userId="S::zederbohm@lots.de::f06a95ea-67a1-48e7-bced-3c578c80c5ce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 skdesign" initials="" lastIdx="2" clrIdx="0"/>
  <p:cmAuthor id="7" name="Anna Ihle | Lots*" initials="AL" lastIdx="1" clrIdx="7">
    <p:extLst>
      <p:ext uri="{19B8F6BF-5375-455C-9EA6-DF929625EA0E}">
        <p15:presenceInfo xmlns:p15="http://schemas.microsoft.com/office/powerpoint/2012/main" userId="S::ihle@lots.de::3ea5c4b9-6f21-4293-957f-1bb1ad7e1c2d" providerId="AD"/>
      </p:ext>
    </p:extLst>
  </p:cmAuthor>
  <p:cmAuthor id="1" name="schuetzb" initials="s" lastIdx="10" clrIdx="1">
    <p:extLst>
      <p:ext uri="{19B8F6BF-5375-455C-9EA6-DF929625EA0E}">
        <p15:presenceInfo xmlns:p15="http://schemas.microsoft.com/office/powerpoint/2012/main" userId="schuetzb" providerId="None"/>
      </p:ext>
    </p:extLst>
  </p:cmAuthor>
  <p:cmAuthor id="8" name="Jan Zederbohm | Lots*" initials="JZ|L" lastIdx="7" clrIdx="8">
    <p:extLst>
      <p:ext uri="{19B8F6BF-5375-455C-9EA6-DF929625EA0E}">
        <p15:presenceInfo xmlns:p15="http://schemas.microsoft.com/office/powerpoint/2012/main" userId="S::zederbohm@lots.de::f06a95ea-67a1-48e7-bced-3c578c80c5ce" providerId="AD"/>
      </p:ext>
    </p:extLst>
  </p:cmAuthor>
  <p:cmAuthor id="2" name="neumannse" initials="n" lastIdx="4" clrIdx="2">
    <p:extLst>
      <p:ext uri="{19B8F6BF-5375-455C-9EA6-DF929625EA0E}">
        <p15:presenceInfo xmlns:p15="http://schemas.microsoft.com/office/powerpoint/2012/main" userId="neumannse" providerId="None"/>
      </p:ext>
    </p:extLst>
  </p:cmAuthor>
  <p:cmAuthor id="9" name="deckerre" initials="d" lastIdx="2" clrIdx="9">
    <p:extLst>
      <p:ext uri="{19B8F6BF-5375-455C-9EA6-DF929625EA0E}">
        <p15:presenceInfo xmlns:p15="http://schemas.microsoft.com/office/powerpoint/2012/main" userId="deckerre" providerId="None"/>
      </p:ext>
    </p:extLst>
  </p:cmAuthor>
  <p:cmAuthor id="3" name="kaldewey" initials="k" lastIdx="1" clrIdx="3">
    <p:extLst>
      <p:ext uri="{19B8F6BF-5375-455C-9EA6-DF929625EA0E}">
        <p15:presenceInfo xmlns:p15="http://schemas.microsoft.com/office/powerpoint/2012/main" userId="kaldewey" providerId="None"/>
      </p:ext>
    </p:extLst>
  </p:cmAuthor>
  <p:cmAuthor id="4" name="kley-steverding" initials="k" lastIdx="2" clrIdx="4"/>
  <p:cmAuthor id="5" name="Christian Hengstermann | Lots*" initials="CH|L" lastIdx="43" clrIdx="5">
    <p:extLst>
      <p:ext uri="{19B8F6BF-5375-455C-9EA6-DF929625EA0E}">
        <p15:presenceInfo xmlns:p15="http://schemas.microsoft.com/office/powerpoint/2012/main" userId="S::hengstermann@lots.de::d250871a-8a38-484d-8a85-e2fafa008dd9" providerId="AD"/>
      </p:ext>
    </p:extLst>
  </p:cmAuthor>
  <p:cmAuthor id="6" name="Henning Schulze | Lots*" initials="HS|L" lastIdx="12" clrIdx="6">
    <p:extLst>
      <p:ext uri="{19B8F6BF-5375-455C-9EA6-DF929625EA0E}">
        <p15:presenceInfo xmlns:p15="http://schemas.microsoft.com/office/powerpoint/2012/main" userId="S::schulze@lots.de::baf657a5-bfd3-4868-bcb3-2412ec9cb06b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AEEC2"/>
    <a:srgbClr val="F7E6A7"/>
    <a:srgbClr val="F4DB80"/>
    <a:srgbClr val="238A8D"/>
    <a:srgbClr val="FF6E19"/>
    <a:srgbClr val="A8D6EE"/>
    <a:srgbClr val="DEF0F0"/>
    <a:srgbClr val="EF0000"/>
    <a:srgbClr val="88CAD1"/>
    <a:srgbClr val="A0D3C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9C1B5E37-54A4-2644-B2FF-EAA282D6D721}" v="20" dt="2023-09-08T11:54:13.431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D27102A9-8310-4765-A935-A1911B00CA55}" styleName="Helle Formatvorlage 1 - Akzent 4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3" autoAdjust="0"/>
    <p:restoredTop sz="94672" autoAdjust="0"/>
  </p:normalViewPr>
  <p:slideViewPr>
    <p:cSldViewPr snapToGrid="0">
      <p:cViewPr varScale="1">
        <p:scale>
          <a:sx n="122" d="100"/>
          <a:sy n="122" d="100"/>
        </p:scale>
        <p:origin x="114" y="150"/>
      </p:cViewPr>
      <p:guideLst>
        <p:guide orient="horz" pos="845"/>
        <p:guide orient="horz" pos="1321"/>
        <p:guide orient="horz" pos="3521"/>
        <p:guide orient="horz" pos="1706"/>
        <p:guide pos="5564"/>
        <p:guide orient="horz" pos="1026"/>
        <p:guide pos="461"/>
        <p:guide orient="horz" pos="3884"/>
        <p:guide pos="4702"/>
      </p:guideLst>
    </p:cSldViewPr>
  </p:slideViewPr>
  <p:outlineViewPr>
    <p:cViewPr>
      <p:scale>
        <a:sx n="33" d="100"/>
        <a:sy n="33" d="100"/>
      </p:scale>
      <p:origin x="0" y="-3672"/>
    </p:cViewPr>
  </p:outlin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6510" y="2070"/>
      </p:cViewPr>
      <p:guideLst>
        <p:guide orient="horz" pos="3224"/>
        <p:guide pos="2237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slide" Target="slides/slide6.xml"/><Relationship Id="rId18" Type="http://schemas.openxmlformats.org/officeDocument/2006/relationships/viewProps" Target="viewProps.xml"/><Relationship Id="rId3" Type="http://schemas.openxmlformats.org/officeDocument/2006/relationships/customXml" Target="../customXml/item3.xml"/><Relationship Id="rId47" Type="http://schemas.microsoft.com/office/2015/10/relationships/revisionInfo" Target="revisionInfo.xml"/><Relationship Id="rId7" Type="http://schemas.openxmlformats.org/officeDocument/2006/relationships/slideMaster" Target="slideMasters/slideMaster3.xml"/><Relationship Id="rId12" Type="http://schemas.openxmlformats.org/officeDocument/2006/relationships/slide" Target="slides/slide5.xml"/><Relationship Id="rId17" Type="http://schemas.openxmlformats.org/officeDocument/2006/relationships/presProps" Target="presProps.xml"/><Relationship Id="rId46" Type="http://schemas.microsoft.com/office/2016/11/relationships/changesInfo" Target="changesInfos/changesInfo1.xml"/><Relationship Id="rId2" Type="http://schemas.openxmlformats.org/officeDocument/2006/relationships/customXml" Target="../customXml/item2.xml"/><Relationship Id="rId16" Type="http://schemas.openxmlformats.org/officeDocument/2006/relationships/commentAuthors" Target="commentAuthors.xml"/><Relationship Id="rId20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2.xml"/><Relationship Id="rId11" Type="http://schemas.openxmlformats.org/officeDocument/2006/relationships/slide" Target="slides/slide4.xml"/><Relationship Id="rId5" Type="http://schemas.openxmlformats.org/officeDocument/2006/relationships/slideMaster" Target="slideMasters/slideMaster1.xml"/><Relationship Id="rId15" Type="http://schemas.openxmlformats.org/officeDocument/2006/relationships/handoutMaster" Target="handoutMasters/handoutMaster1.xml"/><Relationship Id="rId10" Type="http://schemas.openxmlformats.org/officeDocument/2006/relationships/slide" Target="slides/slide3.xml"/><Relationship Id="rId19" Type="http://schemas.openxmlformats.org/officeDocument/2006/relationships/theme" Target="theme/theme1.xml"/><Relationship Id="rId4" Type="http://schemas.openxmlformats.org/officeDocument/2006/relationships/customXml" Target="../customXml/item4.xml"/><Relationship Id="rId9" Type="http://schemas.openxmlformats.org/officeDocument/2006/relationships/slide" Target="slides/slide2.xml"/><Relationship Id="rId14" Type="http://schemas.openxmlformats.org/officeDocument/2006/relationships/notesMaster" Target="notesMasters/notesMaster1.xml"/><Relationship Id="rId48" Type="http://schemas.microsoft.com/office/2018/10/relationships/authors" Target="author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Jan Zederbohm | Lots*" userId="f06a95ea-67a1-48e7-bced-3c578c80c5ce" providerId="ADAL" clId="{BC9CD695-9CB8-6540-A32A-FC1E4FD5955E}"/>
    <pc:docChg chg="custSel addSld delSld modSld modSection">
      <pc:chgData name="Jan Zederbohm | Lots*" userId="f06a95ea-67a1-48e7-bced-3c578c80c5ce" providerId="ADAL" clId="{BC9CD695-9CB8-6540-A32A-FC1E4FD5955E}" dt="2023-09-06T08:43:54.662" v="25"/>
      <pc:docMkLst>
        <pc:docMk/>
      </pc:docMkLst>
      <pc:sldChg chg="delCm">
        <pc:chgData name="Jan Zederbohm | Lots*" userId="f06a95ea-67a1-48e7-bced-3c578c80c5ce" providerId="ADAL" clId="{BC9CD695-9CB8-6540-A32A-FC1E4FD5955E}" dt="2023-09-05T13:56:19.355" v="14"/>
        <pc:sldMkLst>
          <pc:docMk/>
          <pc:sldMk cId="2204183151" sldId="283"/>
        </pc:sldMkLst>
        <pc:extLst>
          <p:ext xmlns:p="http://schemas.openxmlformats.org/presentationml/2006/main" uri="{D6D511B9-2390-475A-947B-AFAB55BFBCF1}">
            <pc226:cmChg xmlns:pc226="http://schemas.microsoft.com/office/powerpoint/2022/06/main/command" chg="del">
              <pc226:chgData name="Jan Zederbohm | Lots*" userId="f06a95ea-67a1-48e7-bced-3c578c80c5ce" providerId="ADAL" clId="{BC9CD695-9CB8-6540-A32A-FC1E4FD5955E}" dt="2023-09-05T13:56:19.355" v="14"/>
              <pc2:cmMkLst xmlns:pc2="http://schemas.microsoft.com/office/powerpoint/2019/9/main/command">
                <pc:docMk/>
                <pc:sldMk cId="2204183151" sldId="283"/>
                <pc2:cmMk id="{8CD13FD2-C131-4984-9454-564C0FEEBB62}"/>
              </pc2:cmMkLst>
            </pc226:cmChg>
          </p:ext>
        </pc:extLst>
      </pc:sldChg>
      <pc:sldChg chg="delCm">
        <pc:chgData name="Jan Zederbohm | Lots*" userId="f06a95ea-67a1-48e7-bced-3c578c80c5ce" providerId="ADAL" clId="{BC9CD695-9CB8-6540-A32A-FC1E4FD5955E}" dt="2023-09-05T13:56:30.553" v="15"/>
        <pc:sldMkLst>
          <pc:docMk/>
          <pc:sldMk cId="1522773124" sldId="284"/>
        </pc:sldMkLst>
        <pc:extLst>
          <p:ext xmlns:p="http://schemas.openxmlformats.org/presentationml/2006/main" uri="{D6D511B9-2390-475A-947B-AFAB55BFBCF1}">
            <pc226:cmChg xmlns:pc226="http://schemas.microsoft.com/office/powerpoint/2022/06/main/command" chg="del">
              <pc226:chgData name="Jan Zederbohm | Lots*" userId="f06a95ea-67a1-48e7-bced-3c578c80c5ce" providerId="ADAL" clId="{BC9CD695-9CB8-6540-A32A-FC1E4FD5955E}" dt="2023-09-05T13:56:30.553" v="15"/>
              <pc2:cmMkLst xmlns:pc2="http://schemas.microsoft.com/office/powerpoint/2019/9/main/command">
                <pc:docMk/>
                <pc:sldMk cId="1522773124" sldId="284"/>
                <pc2:cmMk id="{9AA3C753-14E6-42D4-BF23-BE423AE0C7EC}"/>
              </pc2:cmMkLst>
            </pc226:cmChg>
          </p:ext>
        </pc:extLst>
      </pc:sldChg>
      <pc:sldChg chg="delCm">
        <pc:chgData name="Jan Zederbohm | Lots*" userId="f06a95ea-67a1-48e7-bced-3c578c80c5ce" providerId="ADAL" clId="{BC9CD695-9CB8-6540-A32A-FC1E4FD5955E}" dt="2023-09-05T13:56:37.766" v="16"/>
        <pc:sldMkLst>
          <pc:docMk/>
          <pc:sldMk cId="2439754598" sldId="285"/>
        </pc:sldMkLst>
        <pc:extLst>
          <p:ext xmlns:p="http://schemas.openxmlformats.org/presentationml/2006/main" uri="{D6D511B9-2390-475A-947B-AFAB55BFBCF1}">
            <pc226:cmChg xmlns:pc226="http://schemas.microsoft.com/office/powerpoint/2022/06/main/command" chg="del">
              <pc226:chgData name="Jan Zederbohm | Lots*" userId="f06a95ea-67a1-48e7-bced-3c578c80c5ce" providerId="ADAL" clId="{BC9CD695-9CB8-6540-A32A-FC1E4FD5955E}" dt="2023-09-05T13:56:37.766" v="16"/>
              <pc2:cmMkLst xmlns:pc2="http://schemas.microsoft.com/office/powerpoint/2019/9/main/command">
                <pc:docMk/>
                <pc:sldMk cId="2439754598" sldId="285"/>
                <pc2:cmMk id="{1F4C8F87-250C-459C-9451-91DC37AE9B11}"/>
              </pc2:cmMkLst>
            </pc226:cmChg>
          </p:ext>
        </pc:extLst>
      </pc:sldChg>
      <pc:sldChg chg="addSp delSp modSp mod">
        <pc:chgData name="Jan Zederbohm | Lots*" userId="f06a95ea-67a1-48e7-bced-3c578c80c5ce" providerId="ADAL" clId="{BC9CD695-9CB8-6540-A32A-FC1E4FD5955E}" dt="2023-09-05T12:02:27.954" v="6" actId="478"/>
        <pc:sldMkLst>
          <pc:docMk/>
          <pc:sldMk cId="928753456" sldId="303"/>
        </pc:sldMkLst>
        <pc:picChg chg="add mod modCrop">
          <ac:chgData name="Jan Zederbohm | Lots*" userId="f06a95ea-67a1-48e7-bced-3c578c80c5ce" providerId="ADAL" clId="{BC9CD695-9CB8-6540-A32A-FC1E4FD5955E}" dt="2023-09-05T12:02:22.653" v="5" actId="167"/>
          <ac:picMkLst>
            <pc:docMk/>
            <pc:sldMk cId="928753456" sldId="303"/>
            <ac:picMk id="3" creationId="{C134972F-5B35-BCDB-FDC3-8C6FADDF818B}"/>
          </ac:picMkLst>
        </pc:picChg>
        <pc:picChg chg="del">
          <ac:chgData name="Jan Zederbohm | Lots*" userId="f06a95ea-67a1-48e7-bced-3c578c80c5ce" providerId="ADAL" clId="{BC9CD695-9CB8-6540-A32A-FC1E4FD5955E}" dt="2023-09-05T12:02:27.954" v="6" actId="478"/>
          <ac:picMkLst>
            <pc:docMk/>
            <pc:sldMk cId="928753456" sldId="303"/>
            <ac:picMk id="5" creationId="{00000000-0000-0000-0000-000000000000}"/>
          </ac:picMkLst>
        </pc:picChg>
      </pc:sldChg>
      <pc:sldChg chg="addSp delSp modSp mod">
        <pc:chgData name="Jan Zederbohm | Lots*" userId="f06a95ea-67a1-48e7-bced-3c578c80c5ce" providerId="ADAL" clId="{BC9CD695-9CB8-6540-A32A-FC1E4FD5955E}" dt="2023-09-05T12:03:11.220" v="13" actId="478"/>
        <pc:sldMkLst>
          <pc:docMk/>
          <pc:sldMk cId="453184260" sldId="304"/>
        </pc:sldMkLst>
        <pc:picChg chg="add mod modCrop">
          <ac:chgData name="Jan Zederbohm | Lots*" userId="f06a95ea-67a1-48e7-bced-3c578c80c5ce" providerId="ADAL" clId="{BC9CD695-9CB8-6540-A32A-FC1E4FD5955E}" dt="2023-09-05T12:03:09.022" v="12" actId="167"/>
          <ac:picMkLst>
            <pc:docMk/>
            <pc:sldMk cId="453184260" sldId="304"/>
            <ac:picMk id="3" creationId="{6CC8E914-E030-AE61-232D-B66C1F98833F}"/>
          </ac:picMkLst>
        </pc:picChg>
        <pc:picChg chg="del">
          <ac:chgData name="Jan Zederbohm | Lots*" userId="f06a95ea-67a1-48e7-bced-3c578c80c5ce" providerId="ADAL" clId="{BC9CD695-9CB8-6540-A32A-FC1E4FD5955E}" dt="2023-09-05T12:03:11.220" v="13" actId="478"/>
          <ac:picMkLst>
            <pc:docMk/>
            <pc:sldMk cId="453184260" sldId="304"/>
            <ac:picMk id="8" creationId="{00000000-0000-0000-0000-000000000000}"/>
          </ac:picMkLst>
        </pc:picChg>
      </pc:sldChg>
      <pc:sldChg chg="del">
        <pc:chgData name="Jan Zederbohm | Lots*" userId="f06a95ea-67a1-48e7-bced-3c578c80c5ce" providerId="ADAL" clId="{BC9CD695-9CB8-6540-A32A-FC1E4FD5955E}" dt="2023-09-06T08:43:36.407" v="23" actId="2696"/>
        <pc:sldMkLst>
          <pc:docMk/>
          <pc:sldMk cId="1427355773" sldId="308"/>
        </pc:sldMkLst>
      </pc:sldChg>
      <pc:sldChg chg="addSp delSp modSp add mod delCm modCm">
        <pc:chgData name="Jan Zederbohm | Lots*" userId="f06a95ea-67a1-48e7-bced-3c578c80c5ce" providerId="ADAL" clId="{BC9CD695-9CB8-6540-A32A-FC1E4FD5955E}" dt="2023-09-06T08:43:54.662" v="25"/>
        <pc:sldMkLst>
          <pc:docMk/>
          <pc:sldMk cId="284652302" sldId="312"/>
        </pc:sldMkLst>
        <pc:spChg chg="del">
          <ac:chgData name="Jan Zederbohm | Lots*" userId="f06a95ea-67a1-48e7-bced-3c578c80c5ce" providerId="ADAL" clId="{BC9CD695-9CB8-6540-A32A-FC1E4FD5955E}" dt="2023-09-06T08:43:52.569" v="24" actId="478"/>
          <ac:spMkLst>
            <pc:docMk/>
            <pc:sldMk cId="284652302" sldId="312"/>
            <ac:spMk id="2" creationId="{436B09CA-1BE3-B811-7912-BE39DC81BACD}"/>
          </ac:spMkLst>
        </pc:spChg>
        <pc:spChg chg="del">
          <ac:chgData name="Jan Zederbohm | Lots*" userId="f06a95ea-67a1-48e7-bced-3c578c80c5ce" providerId="ADAL" clId="{BC9CD695-9CB8-6540-A32A-FC1E4FD5955E}" dt="2023-09-06T08:42:33.666" v="19" actId="478"/>
          <ac:spMkLst>
            <pc:docMk/>
            <pc:sldMk cId="284652302" sldId="312"/>
            <ac:spMk id="7" creationId="{0AEEE877-0911-26C1-EBF5-ACAC7ED6A2F0}"/>
          </ac:spMkLst>
        </pc:spChg>
        <pc:spChg chg="add mod">
          <ac:chgData name="Jan Zederbohm | Lots*" userId="f06a95ea-67a1-48e7-bced-3c578c80c5ce" providerId="ADAL" clId="{BC9CD695-9CB8-6540-A32A-FC1E4FD5955E}" dt="2023-09-06T08:43:54.662" v="25"/>
          <ac:spMkLst>
            <pc:docMk/>
            <pc:sldMk cId="284652302" sldId="312"/>
            <ac:spMk id="9" creationId="{23D82863-42AB-ABFF-660C-C404393FDB2D}"/>
          </ac:spMkLst>
        </pc:spChg>
        <pc:extLst>
          <p:ext xmlns:p="http://schemas.openxmlformats.org/presentationml/2006/main" uri="{D6D511B9-2390-475A-947B-AFAB55BFBCF1}">
            <pc226:cmChg xmlns:pc226="http://schemas.microsoft.com/office/powerpoint/2022/06/main/command" chg="del mod">
              <pc226:chgData name="Jan Zederbohm | Lots*" userId="f06a95ea-67a1-48e7-bced-3c578c80c5ce" providerId="ADAL" clId="{BC9CD695-9CB8-6540-A32A-FC1E4FD5955E}" dt="2023-09-06T08:43:01.222" v="21"/>
              <pc2:cmMkLst xmlns:pc2="http://schemas.microsoft.com/office/powerpoint/2019/9/main/command">
                <pc:docMk/>
                <pc:sldMk cId="284652302" sldId="312"/>
                <pc2:cmMk id="{E41CE51A-5D61-41EF-80A1-0470E528E534}"/>
              </pc2:cmMkLst>
            </pc226:cmChg>
            <pc226:cmChg xmlns:pc226="http://schemas.microsoft.com/office/powerpoint/2022/06/main/command" chg="del">
              <pc226:chgData name="Jan Zederbohm | Lots*" userId="f06a95ea-67a1-48e7-bced-3c578c80c5ce" providerId="ADAL" clId="{BC9CD695-9CB8-6540-A32A-FC1E4FD5955E}" dt="2023-09-06T08:42:29.419" v="18"/>
              <pc2:cmMkLst xmlns:pc2="http://schemas.microsoft.com/office/powerpoint/2019/9/main/command">
                <pc:docMk/>
                <pc:sldMk cId="284652302" sldId="312"/>
                <pc2:cmMk id="{C2D81BA5-855B-410F-8652-EEC8CA170B8F}"/>
              </pc2:cmMkLst>
            </pc226:cmChg>
            <pc226:cmChg xmlns:pc226="http://schemas.microsoft.com/office/powerpoint/2022/06/main/command" chg="del mod">
              <pc226:chgData name="Jan Zederbohm | Lots*" userId="f06a95ea-67a1-48e7-bced-3c578c80c5ce" providerId="ADAL" clId="{BC9CD695-9CB8-6540-A32A-FC1E4FD5955E}" dt="2023-09-06T08:43:23.642" v="22"/>
              <pc2:cmMkLst xmlns:pc2="http://schemas.microsoft.com/office/powerpoint/2019/9/main/command">
                <pc:docMk/>
                <pc:sldMk cId="284652302" sldId="312"/>
                <pc2:cmMk id="{F13816FE-3F9A-4AC6-AD8D-F9A56EC9C7EE}"/>
              </pc2:cmMkLst>
            </pc226:cmChg>
          </p:ext>
        </pc:extLst>
      </pc:sldChg>
    </pc:docChg>
  </pc:docChgLst>
  <pc:docChgLst>
    <pc:chgData name="Eva Herfurth | Lots*" userId="5d5f13d0-79cf-4d33-aab6-4bd7f28fd532" providerId="ADAL" clId="{D8B0AA5A-FCB9-4749-A3A9-0D3DE5E2F1C9}"/>
    <pc:docChg chg="undo custSel modSld">
      <pc:chgData name="Eva Herfurth | Lots*" userId="5d5f13d0-79cf-4d33-aab6-4bd7f28fd532" providerId="ADAL" clId="{D8B0AA5A-FCB9-4749-A3A9-0D3DE5E2F1C9}" dt="2023-09-05T09:10:33.882" v="732" actId="18131"/>
      <pc:docMkLst>
        <pc:docMk/>
      </pc:docMkLst>
      <pc:sldChg chg="addSp delSp modSp mod">
        <pc:chgData name="Eva Herfurth | Lots*" userId="5d5f13d0-79cf-4d33-aab6-4bd7f28fd532" providerId="ADAL" clId="{D8B0AA5A-FCB9-4749-A3A9-0D3DE5E2F1C9}" dt="2023-09-05T08:30:19.704" v="534" actId="14100"/>
        <pc:sldMkLst>
          <pc:docMk/>
          <pc:sldMk cId="3373796865" sldId="278"/>
        </pc:sldMkLst>
        <pc:graphicFrameChg chg="add del mod">
          <ac:chgData name="Eva Herfurth | Lots*" userId="5d5f13d0-79cf-4d33-aab6-4bd7f28fd532" providerId="ADAL" clId="{D8B0AA5A-FCB9-4749-A3A9-0D3DE5E2F1C9}" dt="2023-09-05T07:56:19.780" v="117" actId="478"/>
          <ac:graphicFrameMkLst>
            <pc:docMk/>
            <pc:sldMk cId="3373796865" sldId="278"/>
            <ac:graphicFrameMk id="3" creationId="{14BF86BB-841E-CA12-13E6-9A4EB8905841}"/>
          </ac:graphicFrameMkLst>
        </pc:graphicFrameChg>
        <pc:graphicFrameChg chg="add del mod">
          <ac:chgData name="Eva Herfurth | Lots*" userId="5d5f13d0-79cf-4d33-aab6-4bd7f28fd532" providerId="ADAL" clId="{D8B0AA5A-FCB9-4749-A3A9-0D3DE5E2F1C9}" dt="2023-09-05T07:56:24.014" v="119" actId="478"/>
          <ac:graphicFrameMkLst>
            <pc:docMk/>
            <pc:sldMk cId="3373796865" sldId="278"/>
            <ac:graphicFrameMk id="4" creationId="{D96B2829-DDB8-8E80-F84E-5AC958D48875}"/>
          </ac:graphicFrameMkLst>
        </pc:graphicFrameChg>
        <pc:picChg chg="add del mod modCrop">
          <ac:chgData name="Eva Herfurth | Lots*" userId="5d5f13d0-79cf-4d33-aab6-4bd7f28fd532" providerId="ADAL" clId="{D8B0AA5A-FCB9-4749-A3A9-0D3DE5E2F1C9}" dt="2023-09-05T07:58:59.699" v="140" actId="21"/>
          <ac:picMkLst>
            <pc:docMk/>
            <pc:sldMk cId="3373796865" sldId="278"/>
            <ac:picMk id="6" creationId="{DB9194E1-7514-34BD-0C5F-7D0861F2367C}"/>
          </ac:picMkLst>
        </pc:picChg>
        <pc:picChg chg="add mod modCrop">
          <ac:chgData name="Eva Herfurth | Lots*" userId="5d5f13d0-79cf-4d33-aab6-4bd7f28fd532" providerId="ADAL" clId="{D8B0AA5A-FCB9-4749-A3A9-0D3DE5E2F1C9}" dt="2023-09-05T08:16:42.387" v="265" actId="732"/>
          <ac:picMkLst>
            <pc:docMk/>
            <pc:sldMk cId="3373796865" sldId="278"/>
            <ac:picMk id="7" creationId="{BD2A57EF-A37C-F090-3423-11A9B1E63A72}"/>
          </ac:picMkLst>
        </pc:picChg>
        <pc:picChg chg="add mod">
          <ac:chgData name="Eva Herfurth | Lots*" userId="5d5f13d0-79cf-4d33-aab6-4bd7f28fd532" providerId="ADAL" clId="{D8B0AA5A-FCB9-4749-A3A9-0D3DE5E2F1C9}" dt="2023-09-05T08:17:16.531" v="284" actId="1035"/>
          <ac:picMkLst>
            <pc:docMk/>
            <pc:sldMk cId="3373796865" sldId="278"/>
            <ac:picMk id="8" creationId="{2EBE83EE-E6B9-3578-F04F-50EEC13000BB}"/>
          </ac:picMkLst>
        </pc:picChg>
        <pc:picChg chg="del">
          <ac:chgData name="Eva Herfurth | Lots*" userId="5d5f13d0-79cf-4d33-aab6-4bd7f28fd532" providerId="ADAL" clId="{D8B0AA5A-FCB9-4749-A3A9-0D3DE5E2F1C9}" dt="2023-09-05T07:59:03.171" v="141" actId="478"/>
          <ac:picMkLst>
            <pc:docMk/>
            <pc:sldMk cId="3373796865" sldId="278"/>
            <ac:picMk id="10" creationId="{023AEC9F-EEE8-89BA-EE75-FE3291370226}"/>
          </ac:picMkLst>
        </pc:picChg>
        <pc:picChg chg="add del mod">
          <ac:chgData name="Eva Herfurth | Lots*" userId="5d5f13d0-79cf-4d33-aab6-4bd7f28fd532" providerId="ADAL" clId="{D8B0AA5A-FCB9-4749-A3A9-0D3DE5E2F1C9}" dt="2023-09-05T08:21:14.449" v="286"/>
          <ac:picMkLst>
            <pc:docMk/>
            <pc:sldMk cId="3373796865" sldId="278"/>
            <ac:picMk id="12" creationId="{E5DEDEAB-F33D-8FF0-A020-B0B786DBF6B3}"/>
          </ac:picMkLst>
        </pc:picChg>
        <pc:picChg chg="add mod">
          <ac:chgData name="Eva Herfurth | Lots*" userId="5d5f13d0-79cf-4d33-aab6-4bd7f28fd532" providerId="ADAL" clId="{D8B0AA5A-FCB9-4749-A3A9-0D3DE5E2F1C9}" dt="2023-09-05T08:30:19.704" v="534" actId="14100"/>
          <ac:picMkLst>
            <pc:docMk/>
            <pc:sldMk cId="3373796865" sldId="278"/>
            <ac:picMk id="14" creationId="{B14AB6EB-2882-FC3D-6D13-2BC495D7B7CA}"/>
          </ac:picMkLst>
        </pc:picChg>
      </pc:sldChg>
      <pc:sldChg chg="addSp delSp modSp mod">
        <pc:chgData name="Eva Herfurth | Lots*" userId="5d5f13d0-79cf-4d33-aab6-4bd7f28fd532" providerId="ADAL" clId="{D8B0AA5A-FCB9-4749-A3A9-0D3DE5E2F1C9}" dt="2023-09-05T08:32:03.997" v="543" actId="18131"/>
        <pc:sldMkLst>
          <pc:docMk/>
          <pc:sldMk cId="3571919134" sldId="279"/>
        </pc:sldMkLst>
        <pc:picChg chg="add mod">
          <ac:chgData name="Eva Herfurth | Lots*" userId="5d5f13d0-79cf-4d33-aab6-4bd7f28fd532" providerId="ADAL" clId="{D8B0AA5A-FCB9-4749-A3A9-0D3DE5E2F1C9}" dt="2023-09-05T08:17:08.867" v="279" actId="1035"/>
          <ac:picMkLst>
            <pc:docMk/>
            <pc:sldMk cId="3571919134" sldId="279"/>
            <ac:picMk id="3" creationId="{9B6E3BBB-E6B4-8504-27C6-6D3FAAC49BB3}"/>
          </ac:picMkLst>
        </pc:picChg>
        <pc:picChg chg="add del mod modCrop">
          <ac:chgData name="Eva Herfurth | Lots*" userId="5d5f13d0-79cf-4d33-aab6-4bd7f28fd532" providerId="ADAL" clId="{D8B0AA5A-FCB9-4749-A3A9-0D3DE5E2F1C9}" dt="2023-09-05T08:12:04.094" v="256" actId="21"/>
          <ac:picMkLst>
            <pc:docMk/>
            <pc:sldMk cId="3571919134" sldId="279"/>
            <ac:picMk id="5" creationId="{0537C772-CE6D-189B-C197-6BE6338409EA}"/>
          </ac:picMkLst>
        </pc:picChg>
        <pc:picChg chg="add mod ord modCrop">
          <ac:chgData name="Eva Herfurth | Lots*" userId="5d5f13d0-79cf-4d33-aab6-4bd7f28fd532" providerId="ADAL" clId="{D8B0AA5A-FCB9-4749-A3A9-0D3DE5E2F1C9}" dt="2023-09-05T08:32:03.997" v="543" actId="18131"/>
          <ac:picMkLst>
            <pc:docMk/>
            <pc:sldMk cId="3571919134" sldId="279"/>
            <ac:picMk id="6" creationId="{CE7AA732-EA14-D4F8-FDBB-166A75F813EC}"/>
          </ac:picMkLst>
        </pc:picChg>
        <pc:picChg chg="del">
          <ac:chgData name="Eva Herfurth | Lots*" userId="5d5f13d0-79cf-4d33-aab6-4bd7f28fd532" providerId="ADAL" clId="{D8B0AA5A-FCB9-4749-A3A9-0D3DE5E2F1C9}" dt="2023-09-05T08:12:07.019" v="257" actId="478"/>
          <ac:picMkLst>
            <pc:docMk/>
            <pc:sldMk cId="3571919134" sldId="279"/>
            <ac:picMk id="8" creationId="{A13C119E-99DA-C2E9-7B98-61D8AD6E2C77}"/>
          </ac:picMkLst>
        </pc:picChg>
      </pc:sldChg>
      <pc:sldChg chg="addSp delSp modSp mod delCm modCm">
        <pc:chgData name="Eva Herfurth | Lots*" userId="5d5f13d0-79cf-4d33-aab6-4bd7f28fd532" providerId="ADAL" clId="{D8B0AA5A-FCB9-4749-A3A9-0D3DE5E2F1C9}" dt="2023-09-05T09:10:33.882" v="732" actId="18131"/>
        <pc:sldMkLst>
          <pc:docMk/>
          <pc:sldMk cId="2300507972" sldId="280"/>
        </pc:sldMkLst>
        <pc:picChg chg="add del mod">
          <ac:chgData name="Eva Herfurth | Lots*" userId="5d5f13d0-79cf-4d33-aab6-4bd7f28fd532" providerId="ADAL" clId="{D8B0AA5A-FCB9-4749-A3A9-0D3DE5E2F1C9}" dt="2023-09-05T08:25:58.404" v="328" actId="478"/>
          <ac:picMkLst>
            <pc:docMk/>
            <pc:sldMk cId="2300507972" sldId="280"/>
            <ac:picMk id="4" creationId="{06731041-D983-D54F-441B-54FC1A85C44B}"/>
          </ac:picMkLst>
        </pc:picChg>
        <pc:picChg chg="del">
          <ac:chgData name="Eva Herfurth | Lots*" userId="5d5f13d0-79cf-4d33-aab6-4bd7f28fd532" providerId="ADAL" clId="{D8B0AA5A-FCB9-4749-A3A9-0D3DE5E2F1C9}" dt="2023-09-05T08:29:09.597" v="403" actId="478"/>
          <ac:picMkLst>
            <pc:docMk/>
            <pc:sldMk cId="2300507972" sldId="280"/>
            <ac:picMk id="6" creationId="{AA4842FA-94FD-06AC-DCD6-17E26B8D00B4}"/>
          </ac:picMkLst>
        </pc:picChg>
        <pc:picChg chg="add del mod modCrop">
          <ac:chgData name="Eva Herfurth | Lots*" userId="5d5f13d0-79cf-4d33-aab6-4bd7f28fd532" providerId="ADAL" clId="{D8B0AA5A-FCB9-4749-A3A9-0D3DE5E2F1C9}" dt="2023-09-05T09:10:33.882" v="732" actId="18131"/>
          <ac:picMkLst>
            <pc:docMk/>
            <pc:sldMk cId="2300507972" sldId="280"/>
            <ac:picMk id="7" creationId="{8F469D4B-FE7F-E19D-E4FD-B70E4F64DE83}"/>
          </ac:picMkLst>
        </pc:picChg>
        <pc:picChg chg="add del mod">
          <ac:chgData name="Eva Herfurth | Lots*" userId="5d5f13d0-79cf-4d33-aab6-4bd7f28fd532" providerId="ADAL" clId="{D8B0AA5A-FCB9-4749-A3A9-0D3DE5E2F1C9}" dt="2023-09-05T08:28:05.755" v="354" actId="478"/>
          <ac:picMkLst>
            <pc:docMk/>
            <pc:sldMk cId="2300507972" sldId="280"/>
            <ac:picMk id="9" creationId="{B7CA41CA-C0B9-FC77-1769-9287FFBBEBD0}"/>
          </ac:picMkLst>
        </pc:picChg>
        <pc:picChg chg="add mod">
          <ac:chgData name="Eva Herfurth | Lots*" userId="5d5f13d0-79cf-4d33-aab6-4bd7f28fd532" providerId="ADAL" clId="{D8B0AA5A-FCB9-4749-A3A9-0D3DE5E2F1C9}" dt="2023-09-05T08:29:57.595" v="533" actId="1035"/>
          <ac:picMkLst>
            <pc:docMk/>
            <pc:sldMk cId="2300507972" sldId="280"/>
            <ac:picMk id="10" creationId="{E55072A2-FA2A-3439-D31B-9C983D6773BB}"/>
          </ac:picMkLst>
        </pc:picChg>
        <pc:picChg chg="add mod">
          <ac:chgData name="Eva Herfurth | Lots*" userId="5d5f13d0-79cf-4d33-aab6-4bd7f28fd532" providerId="ADAL" clId="{D8B0AA5A-FCB9-4749-A3A9-0D3DE5E2F1C9}" dt="2023-09-05T08:30:33.431" v="535" actId="14100"/>
          <ac:picMkLst>
            <pc:docMk/>
            <pc:sldMk cId="2300507972" sldId="280"/>
            <ac:picMk id="11" creationId="{2D2E1F71-96D3-3DFF-D9A5-193409BB4125}"/>
          </ac:picMkLst>
        </pc:picChg>
        <pc:extLst>
          <p:ext xmlns:p="http://schemas.openxmlformats.org/presentationml/2006/main" uri="{D6D511B9-2390-475A-947B-AFAB55BFBCF1}">
            <pc226:cmChg xmlns:pc226="http://schemas.microsoft.com/office/powerpoint/2022/06/main/command" chg="del mod">
              <pc226:chgData name="Eva Herfurth | Lots*" userId="5d5f13d0-79cf-4d33-aab6-4bd7f28fd532" providerId="ADAL" clId="{D8B0AA5A-FCB9-4749-A3A9-0D3DE5E2F1C9}" dt="2023-09-05T08:32:17.658" v="544"/>
              <pc2:cmMkLst xmlns:pc2="http://schemas.microsoft.com/office/powerpoint/2019/9/main/command">
                <pc:docMk/>
                <pc:sldMk cId="2300507972" sldId="280"/>
                <pc2:cmMk id="{ED0BAC34-952C-4D93-96DA-AB59AF7126E6}"/>
              </pc2:cmMkLst>
            </pc226:cmChg>
          </p:ext>
        </pc:extLst>
      </pc:sldChg>
      <pc:sldChg chg="addSp delSp modSp mod delCm">
        <pc:chgData name="Eva Herfurth | Lots*" userId="5d5f13d0-79cf-4d33-aab6-4bd7f28fd532" providerId="ADAL" clId="{D8B0AA5A-FCB9-4749-A3A9-0D3DE5E2F1C9}" dt="2023-09-05T08:44:51.412" v="642" actId="478"/>
        <pc:sldMkLst>
          <pc:docMk/>
          <pc:sldMk cId="3939280318" sldId="281"/>
        </pc:sldMkLst>
        <pc:picChg chg="add mod">
          <ac:chgData name="Eva Herfurth | Lots*" userId="5d5f13d0-79cf-4d33-aab6-4bd7f28fd532" providerId="ADAL" clId="{D8B0AA5A-FCB9-4749-A3A9-0D3DE5E2F1C9}" dt="2023-09-05T08:35:33.766" v="581" actId="1076"/>
          <ac:picMkLst>
            <pc:docMk/>
            <pc:sldMk cId="3939280318" sldId="281"/>
            <ac:picMk id="3" creationId="{AD3A79A2-77B1-9006-D595-E01EF22E75EA}"/>
          </ac:picMkLst>
        </pc:picChg>
        <pc:picChg chg="del">
          <ac:chgData name="Eva Herfurth | Lots*" userId="5d5f13d0-79cf-4d33-aab6-4bd7f28fd532" providerId="ADAL" clId="{D8B0AA5A-FCB9-4749-A3A9-0D3DE5E2F1C9}" dt="2023-09-05T08:34:05.939" v="563" actId="478"/>
          <ac:picMkLst>
            <pc:docMk/>
            <pc:sldMk cId="3939280318" sldId="281"/>
            <ac:picMk id="4" creationId="{CCC0157E-316E-3ACC-5499-7EF3598A2AAA}"/>
          </ac:picMkLst>
        </pc:picChg>
        <pc:picChg chg="add mod ord modCrop">
          <ac:chgData name="Eva Herfurth | Lots*" userId="5d5f13d0-79cf-4d33-aab6-4bd7f28fd532" providerId="ADAL" clId="{D8B0AA5A-FCB9-4749-A3A9-0D3DE5E2F1C9}" dt="2023-09-05T08:44:48.517" v="640" actId="167"/>
          <ac:picMkLst>
            <pc:docMk/>
            <pc:sldMk cId="3939280318" sldId="281"/>
            <ac:picMk id="6" creationId="{D73EECF0-BC94-241B-69C1-4E5C64A2F8B6}"/>
          </ac:picMkLst>
        </pc:picChg>
        <pc:picChg chg="add del mod">
          <ac:chgData name="Eva Herfurth | Lots*" userId="5d5f13d0-79cf-4d33-aab6-4bd7f28fd532" providerId="ADAL" clId="{D8B0AA5A-FCB9-4749-A3A9-0D3DE5E2F1C9}" dt="2023-09-05T08:35:59.788" v="584" actId="478"/>
          <ac:picMkLst>
            <pc:docMk/>
            <pc:sldMk cId="3939280318" sldId="281"/>
            <ac:picMk id="8" creationId="{91EEC6BF-EC1F-ED9F-D6DB-950743170DFD}"/>
          </ac:picMkLst>
        </pc:picChg>
        <pc:picChg chg="add del mod">
          <ac:chgData name="Eva Herfurth | Lots*" userId="5d5f13d0-79cf-4d33-aab6-4bd7f28fd532" providerId="ADAL" clId="{D8B0AA5A-FCB9-4749-A3A9-0D3DE5E2F1C9}" dt="2023-09-05T08:40:19.650" v="618" actId="21"/>
          <ac:picMkLst>
            <pc:docMk/>
            <pc:sldMk cId="3939280318" sldId="281"/>
            <ac:picMk id="9" creationId="{B9A9A605-EDE4-D429-19CF-136165A35804}"/>
          </ac:picMkLst>
        </pc:picChg>
        <pc:picChg chg="add del mod">
          <ac:chgData name="Eva Herfurth | Lots*" userId="5d5f13d0-79cf-4d33-aab6-4bd7f28fd532" providerId="ADAL" clId="{D8B0AA5A-FCB9-4749-A3A9-0D3DE5E2F1C9}" dt="2023-09-05T08:44:51.412" v="642" actId="478"/>
          <ac:picMkLst>
            <pc:docMk/>
            <pc:sldMk cId="3939280318" sldId="281"/>
            <ac:picMk id="10" creationId="{317D703A-71A1-CBDC-C8AC-7C36E8DCB22C}"/>
          </ac:picMkLst>
        </pc:picChg>
        <pc:extLst>
          <p:ext xmlns:p="http://schemas.openxmlformats.org/presentationml/2006/main" uri="{D6D511B9-2390-475A-947B-AFAB55BFBCF1}">
            <pc226:cmChg xmlns:pc226="http://schemas.microsoft.com/office/powerpoint/2022/06/main/command" chg="del">
              <pc226:chgData name="Eva Herfurth | Lots*" userId="5d5f13d0-79cf-4d33-aab6-4bd7f28fd532" providerId="ADAL" clId="{D8B0AA5A-FCB9-4749-A3A9-0D3DE5E2F1C9}" dt="2023-09-05T08:36:41.915" v="586"/>
              <pc2:cmMkLst xmlns:pc2="http://schemas.microsoft.com/office/powerpoint/2019/9/main/command">
                <pc:docMk/>
                <pc:sldMk cId="3939280318" sldId="281"/>
                <pc2:cmMk id="{2952A488-CFF7-4986-9150-9EFE3346E72B}"/>
              </pc2:cmMkLst>
            </pc226:cmChg>
          </p:ext>
        </pc:extLst>
      </pc:sldChg>
      <pc:sldChg chg="addSp delSp modSp mod delCm modCm">
        <pc:chgData name="Eva Herfurth | Lots*" userId="5d5f13d0-79cf-4d33-aab6-4bd7f28fd532" providerId="ADAL" clId="{D8B0AA5A-FCB9-4749-A3A9-0D3DE5E2F1C9}" dt="2023-09-05T08:59:52.148" v="687" actId="1076"/>
        <pc:sldMkLst>
          <pc:docMk/>
          <pc:sldMk cId="750475334" sldId="282"/>
        </pc:sldMkLst>
        <pc:picChg chg="add mod modCrop">
          <ac:chgData name="Eva Herfurth | Lots*" userId="5d5f13d0-79cf-4d33-aab6-4bd7f28fd532" providerId="ADAL" clId="{D8B0AA5A-FCB9-4749-A3A9-0D3DE5E2F1C9}" dt="2023-09-05T08:39:58.335" v="596" actId="732"/>
          <ac:picMkLst>
            <pc:docMk/>
            <pc:sldMk cId="750475334" sldId="282"/>
            <ac:picMk id="7" creationId="{08EC8774-4E60-0C85-BB6C-8A3323511251}"/>
          </ac:picMkLst>
        </pc:picChg>
        <pc:picChg chg="add mod">
          <ac:chgData name="Eva Herfurth | Lots*" userId="5d5f13d0-79cf-4d33-aab6-4bd7f28fd532" providerId="ADAL" clId="{D8B0AA5A-FCB9-4749-A3A9-0D3DE5E2F1C9}" dt="2023-09-05T08:40:15.611" v="617" actId="1038"/>
          <ac:picMkLst>
            <pc:docMk/>
            <pc:sldMk cId="750475334" sldId="282"/>
            <ac:picMk id="8" creationId="{C7BF2AE3-3761-ECE3-8424-AD2E38790C94}"/>
          </ac:picMkLst>
        </pc:picChg>
        <pc:picChg chg="del">
          <ac:chgData name="Eva Herfurth | Lots*" userId="5d5f13d0-79cf-4d33-aab6-4bd7f28fd532" providerId="ADAL" clId="{D8B0AA5A-FCB9-4749-A3A9-0D3DE5E2F1C9}" dt="2023-09-05T08:40:23.671" v="620" actId="478"/>
          <ac:picMkLst>
            <pc:docMk/>
            <pc:sldMk cId="750475334" sldId="282"/>
            <ac:picMk id="9" creationId="{FF2FE096-D751-FB3E-1A19-1983C5C625D0}"/>
          </ac:picMkLst>
        </pc:picChg>
        <pc:picChg chg="add mod">
          <ac:chgData name="Eva Herfurth | Lots*" userId="5d5f13d0-79cf-4d33-aab6-4bd7f28fd532" providerId="ADAL" clId="{D8B0AA5A-FCB9-4749-A3A9-0D3DE5E2F1C9}" dt="2023-09-05T08:59:52.148" v="687" actId="1076"/>
          <ac:picMkLst>
            <pc:docMk/>
            <pc:sldMk cId="750475334" sldId="282"/>
            <ac:picMk id="10" creationId="{A88AD025-C7A3-FA00-9382-D3B52D37A030}"/>
          </ac:picMkLst>
        </pc:picChg>
        <pc:extLst>
          <p:ext xmlns:p="http://schemas.openxmlformats.org/presentationml/2006/main" uri="{D6D511B9-2390-475A-947B-AFAB55BFBCF1}">
            <pc226:cmChg xmlns:pc226="http://schemas.microsoft.com/office/powerpoint/2022/06/main/command" chg="del mod">
              <pc226:chgData name="Eva Herfurth | Lots*" userId="5d5f13d0-79cf-4d33-aab6-4bd7f28fd532" providerId="ADAL" clId="{D8B0AA5A-FCB9-4749-A3A9-0D3DE5E2F1C9}" dt="2023-09-05T08:40:34.197" v="622"/>
              <pc2:cmMkLst xmlns:pc2="http://schemas.microsoft.com/office/powerpoint/2019/9/main/command">
                <pc:docMk/>
                <pc:sldMk cId="750475334" sldId="282"/>
                <pc2:cmMk id="{C560F6A8-818E-414E-857F-475FD6E3073E}"/>
              </pc2:cmMkLst>
            </pc226:cmChg>
          </p:ext>
        </pc:extLst>
      </pc:sldChg>
      <pc:sldChg chg="addSp delSp modSp mod">
        <pc:chgData name="Eva Herfurth | Lots*" userId="5d5f13d0-79cf-4d33-aab6-4bd7f28fd532" providerId="ADAL" clId="{D8B0AA5A-FCB9-4749-A3A9-0D3DE5E2F1C9}" dt="2023-09-05T08:45:39.271" v="645"/>
        <pc:sldMkLst>
          <pc:docMk/>
          <pc:sldMk cId="2204183151" sldId="283"/>
        </pc:sldMkLst>
        <pc:picChg chg="add del mod ord modCrop">
          <ac:chgData name="Eva Herfurth | Lots*" userId="5d5f13d0-79cf-4d33-aab6-4bd7f28fd532" providerId="ADAL" clId="{D8B0AA5A-FCB9-4749-A3A9-0D3DE5E2F1C9}" dt="2023-09-05T08:45:17.390" v="644" actId="167"/>
          <ac:picMkLst>
            <pc:docMk/>
            <pc:sldMk cId="2204183151" sldId="283"/>
            <ac:picMk id="5" creationId="{E5371370-8E1E-6DD0-7102-6B571087472F}"/>
          </ac:picMkLst>
        </pc:picChg>
        <pc:picChg chg="del">
          <ac:chgData name="Eva Herfurth | Lots*" userId="5d5f13d0-79cf-4d33-aab6-4bd7f28fd532" providerId="ADAL" clId="{D8B0AA5A-FCB9-4749-A3A9-0D3DE5E2F1C9}" dt="2023-09-05T08:43:47.812" v="638" actId="478"/>
          <ac:picMkLst>
            <pc:docMk/>
            <pc:sldMk cId="2204183151" sldId="283"/>
            <ac:picMk id="6" creationId="{8D9CA6E8-65A4-470E-112E-5C931B60ACC5}"/>
          </ac:picMkLst>
        </pc:picChg>
        <pc:picChg chg="add mod">
          <ac:chgData name="Eva Herfurth | Lots*" userId="5d5f13d0-79cf-4d33-aab6-4bd7f28fd532" providerId="ADAL" clId="{D8B0AA5A-FCB9-4749-A3A9-0D3DE5E2F1C9}" dt="2023-09-05T08:45:04.423" v="643"/>
          <ac:picMkLst>
            <pc:docMk/>
            <pc:sldMk cId="2204183151" sldId="283"/>
            <ac:picMk id="8" creationId="{5B831273-58BE-23BF-D991-F1581C8C8EF5}"/>
          </ac:picMkLst>
        </pc:picChg>
        <pc:picChg chg="add mod">
          <ac:chgData name="Eva Herfurth | Lots*" userId="5d5f13d0-79cf-4d33-aab6-4bd7f28fd532" providerId="ADAL" clId="{D8B0AA5A-FCB9-4749-A3A9-0D3DE5E2F1C9}" dt="2023-09-05T08:45:39.271" v="645"/>
          <ac:picMkLst>
            <pc:docMk/>
            <pc:sldMk cId="2204183151" sldId="283"/>
            <ac:picMk id="9" creationId="{C281B9AC-28A5-3038-412C-9CB31FCCD7CE}"/>
          </ac:picMkLst>
        </pc:picChg>
      </pc:sldChg>
      <pc:sldChg chg="addSp delSp modSp mod">
        <pc:chgData name="Eva Herfurth | Lots*" userId="5d5f13d0-79cf-4d33-aab6-4bd7f28fd532" providerId="ADAL" clId="{D8B0AA5A-FCB9-4749-A3A9-0D3DE5E2F1C9}" dt="2023-09-05T08:56:32.195" v="663" actId="1076"/>
        <pc:sldMkLst>
          <pc:docMk/>
          <pc:sldMk cId="1522773124" sldId="284"/>
        </pc:sldMkLst>
        <pc:picChg chg="add mod">
          <ac:chgData name="Eva Herfurth | Lots*" userId="5d5f13d0-79cf-4d33-aab6-4bd7f28fd532" providerId="ADAL" clId="{D8B0AA5A-FCB9-4749-A3A9-0D3DE5E2F1C9}" dt="2023-09-05T08:47:30.752" v="651"/>
          <ac:picMkLst>
            <pc:docMk/>
            <pc:sldMk cId="1522773124" sldId="284"/>
            <ac:picMk id="3" creationId="{97261F34-5A32-7C3C-5B84-015088C2ADAC}"/>
          </ac:picMkLst>
        </pc:picChg>
        <pc:picChg chg="add del mod">
          <ac:chgData name="Eva Herfurth | Lots*" userId="5d5f13d0-79cf-4d33-aab6-4bd7f28fd532" providerId="ADAL" clId="{D8B0AA5A-FCB9-4749-A3A9-0D3DE5E2F1C9}" dt="2023-09-05T08:47:55.008" v="654" actId="21"/>
          <ac:picMkLst>
            <pc:docMk/>
            <pc:sldMk cId="1522773124" sldId="284"/>
            <ac:picMk id="6" creationId="{D59AE6F6-F8A7-3AB0-C657-B237AAA56B84}"/>
          </ac:picMkLst>
        </pc:picChg>
        <pc:picChg chg="add mod">
          <ac:chgData name="Eva Herfurth | Lots*" userId="5d5f13d0-79cf-4d33-aab6-4bd7f28fd532" providerId="ADAL" clId="{D8B0AA5A-FCB9-4749-A3A9-0D3DE5E2F1C9}" dt="2023-09-05T08:56:32.195" v="663" actId="1076"/>
          <ac:picMkLst>
            <pc:docMk/>
            <pc:sldMk cId="1522773124" sldId="284"/>
            <ac:picMk id="7" creationId="{9A0B0F55-4AAC-3DB6-E714-B9298556827E}"/>
          </ac:picMkLst>
        </pc:picChg>
        <pc:picChg chg="mod ord modCrop">
          <ac:chgData name="Eva Herfurth | Lots*" userId="5d5f13d0-79cf-4d33-aab6-4bd7f28fd532" providerId="ADAL" clId="{D8B0AA5A-FCB9-4749-A3A9-0D3DE5E2F1C9}" dt="2023-09-05T08:48:23.754" v="660" actId="18131"/>
          <ac:picMkLst>
            <pc:docMk/>
            <pc:sldMk cId="1522773124" sldId="284"/>
            <ac:picMk id="12" creationId="{00A2321A-1E6B-9479-6E55-60B5D4D02EA5}"/>
          </ac:picMkLst>
        </pc:picChg>
      </pc:sldChg>
      <pc:sldChg chg="addSp delSp modSp mod">
        <pc:chgData name="Eva Herfurth | Lots*" userId="5d5f13d0-79cf-4d33-aab6-4bd7f28fd532" providerId="ADAL" clId="{D8B0AA5A-FCB9-4749-A3A9-0D3DE5E2F1C9}" dt="2023-09-05T09:01:11.531" v="695" actId="18131"/>
        <pc:sldMkLst>
          <pc:docMk/>
          <pc:sldMk cId="2439754598" sldId="285"/>
        </pc:sldMkLst>
        <pc:picChg chg="add mod">
          <ac:chgData name="Eva Herfurth | Lots*" userId="5d5f13d0-79cf-4d33-aab6-4bd7f28fd532" providerId="ADAL" clId="{D8B0AA5A-FCB9-4749-A3A9-0D3DE5E2F1C9}" dt="2023-09-05T08:58:58.062" v="679" actId="688"/>
          <ac:picMkLst>
            <pc:docMk/>
            <pc:sldMk cId="2439754598" sldId="285"/>
            <ac:picMk id="3" creationId="{E63980C6-BD84-4EA0-D731-5FD83D96661E}"/>
          </ac:picMkLst>
        </pc:picChg>
        <pc:picChg chg="add del">
          <ac:chgData name="Eva Herfurth | Lots*" userId="5d5f13d0-79cf-4d33-aab6-4bd7f28fd532" providerId="ADAL" clId="{D8B0AA5A-FCB9-4749-A3A9-0D3DE5E2F1C9}" dt="2023-09-05T08:58:14.827" v="672" actId="478"/>
          <ac:picMkLst>
            <pc:docMk/>
            <pc:sldMk cId="2439754598" sldId="285"/>
            <ac:picMk id="5" creationId="{2DE83E0E-68B9-DD13-706E-7B13D5AAEB4C}"/>
          </ac:picMkLst>
        </pc:picChg>
        <pc:picChg chg="mod modCrop">
          <ac:chgData name="Eva Herfurth | Lots*" userId="5d5f13d0-79cf-4d33-aab6-4bd7f28fd532" providerId="ADAL" clId="{D8B0AA5A-FCB9-4749-A3A9-0D3DE5E2F1C9}" dt="2023-09-05T09:01:11.531" v="695" actId="18131"/>
          <ac:picMkLst>
            <pc:docMk/>
            <pc:sldMk cId="2439754598" sldId="285"/>
            <ac:picMk id="6" creationId="{62FFFCC7-FD57-7085-3C7B-2BEA2A586413}"/>
          </ac:picMkLst>
        </pc:picChg>
        <pc:picChg chg="add del mod">
          <ac:chgData name="Eva Herfurth | Lots*" userId="5d5f13d0-79cf-4d33-aab6-4bd7f28fd532" providerId="ADAL" clId="{D8B0AA5A-FCB9-4749-A3A9-0D3DE5E2F1C9}" dt="2023-09-05T08:58:45.075" v="676" actId="21"/>
          <ac:picMkLst>
            <pc:docMk/>
            <pc:sldMk cId="2439754598" sldId="285"/>
            <ac:picMk id="9" creationId="{CC5E02B6-FC78-73BF-3F35-B87491B0ACAA}"/>
          </ac:picMkLst>
        </pc:picChg>
        <pc:picChg chg="add mod">
          <ac:chgData name="Eva Herfurth | Lots*" userId="5d5f13d0-79cf-4d33-aab6-4bd7f28fd532" providerId="ADAL" clId="{D8B0AA5A-FCB9-4749-A3A9-0D3DE5E2F1C9}" dt="2023-09-05T09:00:00.631" v="688"/>
          <ac:picMkLst>
            <pc:docMk/>
            <pc:sldMk cId="2439754598" sldId="285"/>
            <ac:picMk id="10" creationId="{FA35881D-6862-56E0-31D9-1215639A81F8}"/>
          </ac:picMkLst>
        </pc:picChg>
      </pc:sldChg>
      <pc:sldChg chg="addSp delSp modSp mod">
        <pc:chgData name="Eva Herfurth | Lots*" userId="5d5f13d0-79cf-4d33-aab6-4bd7f28fd532" providerId="ADAL" clId="{D8B0AA5A-FCB9-4749-A3A9-0D3DE5E2F1C9}" dt="2023-09-05T09:02:48.494" v="706"/>
        <pc:sldMkLst>
          <pc:docMk/>
          <pc:sldMk cId="2030348663" sldId="286"/>
        </pc:sldMkLst>
        <pc:picChg chg="add del mod">
          <ac:chgData name="Eva Herfurth | Lots*" userId="5d5f13d0-79cf-4d33-aab6-4bd7f28fd532" providerId="ADAL" clId="{D8B0AA5A-FCB9-4749-A3A9-0D3DE5E2F1C9}" dt="2023-09-05T09:02:06.295" v="699" actId="21"/>
          <ac:picMkLst>
            <pc:docMk/>
            <pc:sldMk cId="2030348663" sldId="286"/>
            <ac:picMk id="4" creationId="{75391E02-1273-7A07-D672-AE57B4DFF3C6}"/>
          </ac:picMkLst>
        </pc:picChg>
        <pc:picChg chg="add mod">
          <ac:chgData name="Eva Herfurth | Lots*" userId="5d5f13d0-79cf-4d33-aab6-4bd7f28fd532" providerId="ADAL" clId="{D8B0AA5A-FCB9-4749-A3A9-0D3DE5E2F1C9}" dt="2023-09-05T09:02:48.494" v="706"/>
          <ac:picMkLst>
            <pc:docMk/>
            <pc:sldMk cId="2030348663" sldId="286"/>
            <ac:picMk id="5" creationId="{9CED1A6A-9D59-9622-7731-C4F7B04888B0}"/>
          </ac:picMkLst>
        </pc:picChg>
        <pc:picChg chg="mod modCrop">
          <ac:chgData name="Eva Herfurth | Lots*" userId="5d5f13d0-79cf-4d33-aab6-4bd7f28fd532" providerId="ADAL" clId="{D8B0AA5A-FCB9-4749-A3A9-0D3DE5E2F1C9}" dt="2023-09-05T09:02:38.807" v="705" actId="18131"/>
          <ac:picMkLst>
            <pc:docMk/>
            <pc:sldMk cId="2030348663" sldId="286"/>
            <ac:picMk id="7" creationId="{B44CF4FA-BAD9-8CB6-98C8-12DDC63CB873}"/>
          </ac:picMkLst>
        </pc:picChg>
      </pc:sldChg>
      <pc:sldChg chg="addSp delSp modSp mod">
        <pc:chgData name="Eva Herfurth | Lots*" userId="5d5f13d0-79cf-4d33-aab6-4bd7f28fd532" providerId="ADAL" clId="{D8B0AA5A-FCB9-4749-A3A9-0D3DE5E2F1C9}" dt="2023-09-05T09:06:34.694" v="722" actId="1076"/>
        <pc:sldMkLst>
          <pc:docMk/>
          <pc:sldMk cId="4003896371" sldId="287"/>
        </pc:sldMkLst>
        <pc:picChg chg="del mod">
          <ac:chgData name="Eva Herfurth | Lots*" userId="5d5f13d0-79cf-4d33-aab6-4bd7f28fd532" providerId="ADAL" clId="{D8B0AA5A-FCB9-4749-A3A9-0D3DE5E2F1C9}" dt="2023-09-05T09:03:29.674" v="710" actId="478"/>
          <ac:picMkLst>
            <pc:docMk/>
            <pc:sldMk cId="4003896371" sldId="287"/>
            <ac:picMk id="4" creationId="{B35DC3B3-A0EE-ED7F-BAED-345B5F70BE58}"/>
          </ac:picMkLst>
        </pc:picChg>
        <pc:picChg chg="mod modCrop">
          <ac:chgData name="Eva Herfurth | Lots*" userId="5d5f13d0-79cf-4d33-aab6-4bd7f28fd532" providerId="ADAL" clId="{D8B0AA5A-FCB9-4749-A3A9-0D3DE5E2F1C9}" dt="2023-09-05T09:06:02.303" v="717" actId="732"/>
          <ac:picMkLst>
            <pc:docMk/>
            <pc:sldMk cId="4003896371" sldId="287"/>
            <ac:picMk id="6" creationId="{79D6E280-982F-C997-0889-04246E65A411}"/>
          </ac:picMkLst>
        </pc:picChg>
        <pc:picChg chg="add del mod">
          <ac:chgData name="Eva Herfurth | Lots*" userId="5d5f13d0-79cf-4d33-aab6-4bd7f28fd532" providerId="ADAL" clId="{D8B0AA5A-FCB9-4749-A3A9-0D3DE5E2F1C9}" dt="2023-09-05T09:03:21.668" v="708" actId="21"/>
          <ac:picMkLst>
            <pc:docMk/>
            <pc:sldMk cId="4003896371" sldId="287"/>
            <ac:picMk id="7" creationId="{87D7FD73-7FFB-5628-7AA3-43DC17C5F700}"/>
          </ac:picMkLst>
        </pc:picChg>
        <pc:picChg chg="add del mod">
          <ac:chgData name="Eva Herfurth | Lots*" userId="5d5f13d0-79cf-4d33-aab6-4bd7f28fd532" providerId="ADAL" clId="{D8B0AA5A-FCB9-4749-A3A9-0D3DE5E2F1C9}" dt="2023-09-05T09:03:35.725" v="712" actId="21"/>
          <ac:picMkLst>
            <pc:docMk/>
            <pc:sldMk cId="4003896371" sldId="287"/>
            <ac:picMk id="8" creationId="{152031E4-00C8-0B7E-7EEE-61731E2F6FE5}"/>
          </ac:picMkLst>
        </pc:picChg>
        <pc:picChg chg="add mod">
          <ac:chgData name="Eva Herfurth | Lots*" userId="5d5f13d0-79cf-4d33-aab6-4bd7f28fd532" providerId="ADAL" clId="{D8B0AA5A-FCB9-4749-A3A9-0D3DE5E2F1C9}" dt="2023-09-05T09:06:04.120" v="718"/>
          <ac:picMkLst>
            <pc:docMk/>
            <pc:sldMk cId="4003896371" sldId="287"/>
            <ac:picMk id="9" creationId="{FA400F32-122F-9875-70D2-91C6FAFC6F59}"/>
          </ac:picMkLst>
        </pc:picChg>
        <pc:picChg chg="add mod">
          <ac:chgData name="Eva Herfurth | Lots*" userId="5d5f13d0-79cf-4d33-aab6-4bd7f28fd532" providerId="ADAL" clId="{D8B0AA5A-FCB9-4749-A3A9-0D3DE5E2F1C9}" dt="2023-09-05T09:06:34.694" v="722" actId="1076"/>
          <ac:picMkLst>
            <pc:docMk/>
            <pc:sldMk cId="4003896371" sldId="287"/>
            <ac:picMk id="10" creationId="{42223E64-989A-6D5E-1457-D6D82859BFF1}"/>
          </ac:picMkLst>
        </pc:picChg>
      </pc:sldChg>
      <pc:sldChg chg="addSp delSp modSp mod">
        <pc:chgData name="Eva Herfurth | Lots*" userId="5d5f13d0-79cf-4d33-aab6-4bd7f28fd532" providerId="ADAL" clId="{D8B0AA5A-FCB9-4749-A3A9-0D3DE5E2F1C9}" dt="2023-09-05T09:10:02.443" v="731" actId="18131"/>
        <pc:sldMkLst>
          <pc:docMk/>
          <pc:sldMk cId="3294675944" sldId="301"/>
        </pc:sldMkLst>
        <pc:picChg chg="add del mod modCrop">
          <ac:chgData name="Eva Herfurth | Lots*" userId="5d5f13d0-79cf-4d33-aab6-4bd7f28fd532" providerId="ADAL" clId="{D8B0AA5A-FCB9-4749-A3A9-0D3DE5E2F1C9}" dt="2023-09-05T09:10:02.443" v="731" actId="18131"/>
          <ac:picMkLst>
            <pc:docMk/>
            <pc:sldMk cId="3294675944" sldId="301"/>
            <ac:picMk id="4" creationId="{0C7755BB-C628-E41C-8B3C-0CF83C834957}"/>
          </ac:picMkLst>
        </pc:picChg>
        <pc:picChg chg="add mod modCrop">
          <ac:chgData name="Eva Herfurth | Lots*" userId="5d5f13d0-79cf-4d33-aab6-4bd7f28fd532" providerId="ADAL" clId="{D8B0AA5A-FCB9-4749-A3A9-0D3DE5E2F1C9}" dt="2023-09-05T08:00:19.776" v="188" actId="1037"/>
          <ac:picMkLst>
            <pc:docMk/>
            <pc:sldMk cId="3294675944" sldId="301"/>
            <ac:picMk id="6" creationId="{D58B8453-D9D2-BFCC-3BCD-CC95E9050569}"/>
          </ac:picMkLst>
        </pc:picChg>
        <pc:picChg chg="add del mod">
          <ac:chgData name="Eva Herfurth | Lots*" userId="5d5f13d0-79cf-4d33-aab6-4bd7f28fd532" providerId="ADAL" clId="{D8B0AA5A-FCB9-4749-A3A9-0D3DE5E2F1C9}" dt="2023-09-05T07:59:41.507" v="144" actId="478"/>
          <ac:picMkLst>
            <pc:docMk/>
            <pc:sldMk cId="3294675944" sldId="301"/>
            <ac:picMk id="7" creationId="{39705922-FF3E-728E-FBA8-B01147033406}"/>
          </ac:picMkLst>
        </pc:picChg>
      </pc:sldChg>
    </pc:docChg>
  </pc:docChgLst>
  <pc:docChgLst>
    <pc:chgData name="Miriam Mathias | Lots*" userId="3a307e93-64a6-49b7-8515-cea2707217ab" providerId="ADAL" clId="{2B290705-2AEF-434D-86F0-043EDED05B87}"/>
    <pc:docChg chg="undo custSel addSld delSld modSld modSection">
      <pc:chgData name="Miriam Mathias | Lots*" userId="3a307e93-64a6-49b7-8515-cea2707217ab" providerId="ADAL" clId="{2B290705-2AEF-434D-86F0-043EDED05B87}" dt="2023-09-05T10:38:00.995" v="342" actId="478"/>
      <pc:docMkLst>
        <pc:docMk/>
      </pc:docMkLst>
      <pc:sldChg chg="delSp mod">
        <pc:chgData name="Miriam Mathias | Lots*" userId="3a307e93-64a6-49b7-8515-cea2707217ab" providerId="ADAL" clId="{2B290705-2AEF-434D-86F0-043EDED05B87}" dt="2023-09-05T10:38:00.995" v="342" actId="478"/>
        <pc:sldMkLst>
          <pc:docMk/>
          <pc:sldMk cId="3111080621" sldId="266"/>
        </pc:sldMkLst>
        <pc:spChg chg="del">
          <ac:chgData name="Miriam Mathias | Lots*" userId="3a307e93-64a6-49b7-8515-cea2707217ab" providerId="ADAL" clId="{2B290705-2AEF-434D-86F0-043EDED05B87}" dt="2023-09-05T10:38:00.995" v="342" actId="478"/>
          <ac:spMkLst>
            <pc:docMk/>
            <pc:sldMk cId="3111080621" sldId="266"/>
            <ac:spMk id="2" creationId="{00000000-0000-0000-0000-000000000000}"/>
          </ac:spMkLst>
        </pc:spChg>
      </pc:sldChg>
      <pc:sldChg chg="addSp delSp modSp mod modNotesTx">
        <pc:chgData name="Miriam Mathias | Lots*" userId="3a307e93-64a6-49b7-8515-cea2707217ab" providerId="ADAL" clId="{2B290705-2AEF-434D-86F0-043EDED05B87}" dt="2023-09-04T21:05:40.450" v="338" actId="6549"/>
        <pc:sldMkLst>
          <pc:docMk/>
          <pc:sldMk cId="3373796865" sldId="278"/>
        </pc:sldMkLst>
        <pc:spChg chg="del mod">
          <ac:chgData name="Miriam Mathias | Lots*" userId="3a307e93-64a6-49b7-8515-cea2707217ab" providerId="ADAL" clId="{2B290705-2AEF-434D-86F0-043EDED05B87}" dt="2023-09-04T20:45:04.268" v="156" actId="478"/>
          <ac:spMkLst>
            <pc:docMk/>
            <pc:sldMk cId="3373796865" sldId="278"/>
            <ac:spMk id="7" creationId="{B5DBA276-087D-C16E-3AD9-9CB8DA7927AD}"/>
          </ac:spMkLst>
        </pc:spChg>
        <pc:spChg chg="add mod">
          <ac:chgData name="Miriam Mathias | Lots*" userId="3a307e93-64a6-49b7-8515-cea2707217ab" providerId="ADAL" clId="{2B290705-2AEF-434D-86F0-043EDED05B87}" dt="2023-09-04T21:04:53.651" v="335" actId="20577"/>
          <ac:spMkLst>
            <pc:docMk/>
            <pc:sldMk cId="3373796865" sldId="278"/>
            <ac:spMk id="11" creationId="{8AABD9F5-A79D-2EF5-1F72-256012473009}"/>
          </ac:spMkLst>
        </pc:spChg>
        <pc:picChg chg="del mod">
          <ac:chgData name="Miriam Mathias | Lots*" userId="3a307e93-64a6-49b7-8515-cea2707217ab" providerId="ADAL" clId="{2B290705-2AEF-434D-86F0-043EDED05B87}" dt="2023-09-04T20:32:31.332" v="17" actId="478"/>
          <ac:picMkLst>
            <pc:docMk/>
            <pc:sldMk cId="3373796865" sldId="278"/>
            <ac:picMk id="3" creationId="{00000000-0000-0000-0000-000000000000}"/>
          </ac:picMkLst>
        </pc:picChg>
        <pc:picChg chg="del">
          <ac:chgData name="Miriam Mathias | Lots*" userId="3a307e93-64a6-49b7-8515-cea2707217ab" providerId="ADAL" clId="{2B290705-2AEF-434D-86F0-043EDED05B87}" dt="2023-09-04T20:33:29.737" v="26" actId="478"/>
          <ac:picMkLst>
            <pc:docMk/>
            <pc:sldMk cId="3373796865" sldId="278"/>
            <ac:picMk id="5" creationId="{818E5963-B605-164E-FE7F-C76950C33D63}"/>
          </ac:picMkLst>
        </pc:picChg>
        <pc:picChg chg="add del mod modCrop">
          <ac:chgData name="Miriam Mathias | Lots*" userId="3a307e93-64a6-49b7-8515-cea2707217ab" providerId="ADAL" clId="{2B290705-2AEF-434D-86F0-043EDED05B87}" dt="2023-09-04T20:51:47.735" v="213" actId="21"/>
          <ac:picMkLst>
            <pc:docMk/>
            <pc:sldMk cId="3373796865" sldId="278"/>
            <ac:picMk id="6" creationId="{07FA929D-12E5-5417-DEC1-62796FAD81DE}"/>
          </ac:picMkLst>
        </pc:picChg>
        <pc:picChg chg="add del mod">
          <ac:chgData name="Miriam Mathias | Lots*" userId="3a307e93-64a6-49b7-8515-cea2707217ab" providerId="ADAL" clId="{2B290705-2AEF-434D-86F0-043EDED05B87}" dt="2023-09-04T20:33:57.566" v="30" actId="478"/>
          <ac:picMkLst>
            <pc:docMk/>
            <pc:sldMk cId="3373796865" sldId="278"/>
            <ac:picMk id="8" creationId="{657559EF-FCF5-A2A1-C760-8E0ECAD043C9}"/>
          </ac:picMkLst>
        </pc:picChg>
        <pc:picChg chg="add del mod ord">
          <ac:chgData name="Miriam Mathias | Lots*" userId="3a307e93-64a6-49b7-8515-cea2707217ab" providerId="ADAL" clId="{2B290705-2AEF-434D-86F0-043EDED05B87}" dt="2023-09-04T20:51:49.560" v="214" actId="478"/>
          <ac:picMkLst>
            <pc:docMk/>
            <pc:sldMk cId="3373796865" sldId="278"/>
            <ac:picMk id="9" creationId="{A8C2C7A7-A351-DF6A-F053-E7B11C7BDE79}"/>
          </ac:picMkLst>
        </pc:picChg>
        <pc:picChg chg="add mod">
          <ac:chgData name="Miriam Mathias | Lots*" userId="3a307e93-64a6-49b7-8515-cea2707217ab" providerId="ADAL" clId="{2B290705-2AEF-434D-86F0-043EDED05B87}" dt="2023-09-04T21:05:09.954" v="336" actId="14100"/>
          <ac:picMkLst>
            <pc:docMk/>
            <pc:sldMk cId="3373796865" sldId="278"/>
            <ac:picMk id="10" creationId="{023AEC9F-EEE8-89BA-EE75-FE3291370226}"/>
          </ac:picMkLst>
        </pc:picChg>
      </pc:sldChg>
      <pc:sldChg chg="addSp delSp modSp mod">
        <pc:chgData name="Miriam Mathias | Lots*" userId="3a307e93-64a6-49b7-8515-cea2707217ab" providerId="ADAL" clId="{2B290705-2AEF-434D-86F0-043EDED05B87}" dt="2023-09-04T20:53:34.249" v="228"/>
        <pc:sldMkLst>
          <pc:docMk/>
          <pc:sldMk cId="3571919134" sldId="279"/>
        </pc:sldMkLst>
        <pc:picChg chg="add del mod modCrop">
          <ac:chgData name="Miriam Mathias | Lots*" userId="3a307e93-64a6-49b7-8515-cea2707217ab" providerId="ADAL" clId="{2B290705-2AEF-434D-86F0-043EDED05B87}" dt="2023-09-04T20:35:04.738" v="46" actId="21"/>
          <ac:picMkLst>
            <pc:docMk/>
            <pc:sldMk cId="3571919134" sldId="279"/>
            <ac:picMk id="4" creationId="{00DD418E-94FC-6F96-A817-71CE0CD0ADDE}"/>
          </ac:picMkLst>
        </pc:picChg>
        <pc:picChg chg="add del mod modCrop">
          <ac:chgData name="Miriam Mathias | Lots*" userId="3a307e93-64a6-49b7-8515-cea2707217ab" providerId="ADAL" clId="{2B290705-2AEF-434D-86F0-043EDED05B87}" dt="2023-09-04T20:53:32.639" v="226" actId="21"/>
          <ac:picMkLst>
            <pc:docMk/>
            <pc:sldMk cId="3571919134" sldId="279"/>
            <ac:picMk id="5" creationId="{E06501BA-0C16-CAA1-E2EC-BDC7730F283D}"/>
          </ac:picMkLst>
        </pc:picChg>
        <pc:picChg chg="del">
          <ac:chgData name="Miriam Mathias | Lots*" userId="3a307e93-64a6-49b7-8515-cea2707217ab" providerId="ADAL" clId="{2B290705-2AEF-434D-86F0-043EDED05B87}" dt="2023-09-04T20:35:06.510" v="47" actId="478"/>
          <ac:picMkLst>
            <pc:docMk/>
            <pc:sldMk cId="3571919134" sldId="279"/>
            <ac:picMk id="6" creationId="{4B23C54A-B70D-C160-0EFB-450FFDFBB493}"/>
          </ac:picMkLst>
        </pc:picChg>
        <pc:picChg chg="add del mod ord">
          <ac:chgData name="Miriam Mathias | Lots*" userId="3a307e93-64a6-49b7-8515-cea2707217ab" providerId="ADAL" clId="{2B290705-2AEF-434D-86F0-043EDED05B87}" dt="2023-09-04T20:53:33.870" v="227" actId="478"/>
          <ac:picMkLst>
            <pc:docMk/>
            <pc:sldMk cId="3571919134" sldId="279"/>
            <ac:picMk id="7" creationId="{A0EFA2CB-0A89-000E-0D7F-82E78F302BC8}"/>
          </ac:picMkLst>
        </pc:picChg>
        <pc:picChg chg="add mod">
          <ac:chgData name="Miriam Mathias | Lots*" userId="3a307e93-64a6-49b7-8515-cea2707217ab" providerId="ADAL" clId="{2B290705-2AEF-434D-86F0-043EDED05B87}" dt="2023-09-04T20:53:34.249" v="228"/>
          <ac:picMkLst>
            <pc:docMk/>
            <pc:sldMk cId="3571919134" sldId="279"/>
            <ac:picMk id="8" creationId="{A13C119E-99DA-C2E9-7B98-61D8AD6E2C77}"/>
          </ac:picMkLst>
        </pc:picChg>
      </pc:sldChg>
      <pc:sldChg chg="addSp delSp modSp mod addCm">
        <pc:chgData name="Miriam Mathias | Lots*" userId="3a307e93-64a6-49b7-8515-cea2707217ab" providerId="ADAL" clId="{2B290705-2AEF-434D-86F0-043EDED05B87}" dt="2023-09-04T21:03:37.263" v="325" actId="1076"/>
        <pc:sldMkLst>
          <pc:docMk/>
          <pc:sldMk cId="2300507972" sldId="280"/>
        </pc:sldMkLst>
        <pc:spChg chg="mod">
          <ac:chgData name="Miriam Mathias | Lots*" userId="3a307e93-64a6-49b7-8515-cea2707217ab" providerId="ADAL" clId="{2B290705-2AEF-434D-86F0-043EDED05B87}" dt="2023-09-04T21:03:37.263" v="325" actId="1076"/>
          <ac:spMkLst>
            <pc:docMk/>
            <pc:sldMk cId="2300507972" sldId="280"/>
            <ac:spMk id="12" creationId="{B753A63E-DFBD-09B8-9C7F-D6276ED8ECB5}"/>
          </ac:spMkLst>
        </pc:spChg>
        <pc:picChg chg="add del mod modCrop">
          <ac:chgData name="Miriam Mathias | Lots*" userId="3a307e93-64a6-49b7-8515-cea2707217ab" providerId="ADAL" clId="{2B290705-2AEF-434D-86F0-043EDED05B87}" dt="2023-09-04T20:38:26.264" v="79" actId="21"/>
          <ac:picMkLst>
            <pc:docMk/>
            <pc:sldMk cId="2300507972" sldId="280"/>
            <ac:picMk id="4" creationId="{28ED4A9A-9C83-804E-76B7-2031C92AA9E8}"/>
          </ac:picMkLst>
        </pc:picChg>
        <pc:picChg chg="add del mod">
          <ac:chgData name="Miriam Mathias | Lots*" userId="3a307e93-64a6-49b7-8515-cea2707217ab" providerId="ADAL" clId="{2B290705-2AEF-434D-86F0-043EDED05B87}" dt="2023-09-04T20:38:22.468" v="78" actId="478"/>
          <ac:picMkLst>
            <pc:docMk/>
            <pc:sldMk cId="2300507972" sldId="280"/>
            <ac:picMk id="5" creationId="{A284C30A-A578-3A5C-7120-28047C0E3279}"/>
          </ac:picMkLst>
        </pc:picChg>
        <pc:picChg chg="add mod">
          <ac:chgData name="Miriam Mathias | Lots*" userId="3a307e93-64a6-49b7-8515-cea2707217ab" providerId="ADAL" clId="{2B290705-2AEF-434D-86F0-043EDED05B87}" dt="2023-09-04T20:38:28.319" v="81"/>
          <ac:picMkLst>
            <pc:docMk/>
            <pc:sldMk cId="2300507972" sldId="280"/>
            <ac:picMk id="6" creationId="{AA4842FA-94FD-06AC-DCD6-17E26B8D00B4}"/>
          </ac:picMkLst>
        </pc:picChg>
        <pc:picChg chg="add del">
          <ac:chgData name="Miriam Mathias | Lots*" userId="3a307e93-64a6-49b7-8515-cea2707217ab" providerId="ADAL" clId="{2B290705-2AEF-434D-86F0-043EDED05B87}" dt="2023-09-04T20:38:27.796" v="80" actId="478"/>
          <ac:picMkLst>
            <pc:docMk/>
            <pc:sldMk cId="2300507972" sldId="280"/>
            <ac:picMk id="7" creationId="{2300684F-2C73-BDAC-DD5F-258DCBABACD2}"/>
          </ac:picMkLst>
        </pc:picChg>
        <pc:extLst>
          <p:ext xmlns:p="http://schemas.openxmlformats.org/presentationml/2006/main" uri="{D6D511B9-2390-475A-947B-AFAB55BFBCF1}">
            <pc226:cmChg xmlns:pc226="http://schemas.microsoft.com/office/powerpoint/2022/06/main/command" chg="add">
              <pc226:chgData name="Miriam Mathias | Lots*" userId="3a307e93-64a6-49b7-8515-cea2707217ab" providerId="ADAL" clId="{2B290705-2AEF-434D-86F0-043EDED05B87}" dt="2023-09-04T20:38:49.422" v="82"/>
              <pc2:cmMkLst xmlns:pc2="http://schemas.microsoft.com/office/powerpoint/2019/9/main/command">
                <pc:docMk/>
                <pc:sldMk cId="2300507972" sldId="280"/>
                <pc2:cmMk id="{ED0BAC34-952C-4D93-96DA-AB59AF7126E6}"/>
              </pc2:cmMkLst>
            </pc226:cmChg>
          </p:ext>
        </pc:extLst>
      </pc:sldChg>
      <pc:sldChg chg="addSp delSp modSp mod addCm modCm">
        <pc:chgData name="Miriam Mathias | Lots*" userId="3a307e93-64a6-49b7-8515-cea2707217ab" providerId="ADAL" clId="{2B290705-2AEF-434D-86F0-043EDED05B87}" dt="2023-09-04T20:43:41.404" v="136" actId="21"/>
        <pc:sldMkLst>
          <pc:docMk/>
          <pc:sldMk cId="3939280318" sldId="281"/>
        </pc:sldMkLst>
        <pc:picChg chg="del">
          <ac:chgData name="Miriam Mathias | Lots*" userId="3a307e93-64a6-49b7-8515-cea2707217ab" providerId="ADAL" clId="{2B290705-2AEF-434D-86F0-043EDED05B87}" dt="2023-09-04T20:39:57.704" v="94" actId="478"/>
          <ac:picMkLst>
            <pc:docMk/>
            <pc:sldMk cId="3939280318" sldId="281"/>
            <ac:picMk id="4" creationId="{A71022D5-97A2-10C4-DC13-E1C66A92821C}"/>
          </ac:picMkLst>
        </pc:picChg>
        <pc:picChg chg="add del mod modCrop">
          <ac:chgData name="Miriam Mathias | Lots*" userId="3a307e93-64a6-49b7-8515-cea2707217ab" providerId="ADAL" clId="{2B290705-2AEF-434D-86F0-043EDED05B87}" dt="2023-09-04T20:39:56.037" v="93" actId="21"/>
          <ac:picMkLst>
            <pc:docMk/>
            <pc:sldMk cId="3939280318" sldId="281"/>
            <ac:picMk id="5" creationId="{232F199A-1B96-F626-0283-1B655BAEB824}"/>
          </ac:picMkLst>
        </pc:picChg>
        <pc:picChg chg="add del mod">
          <ac:chgData name="Miriam Mathias | Lots*" userId="3a307e93-64a6-49b7-8515-cea2707217ab" providerId="ADAL" clId="{2B290705-2AEF-434D-86F0-043EDED05B87}" dt="2023-09-04T20:43:41.404" v="136" actId="21"/>
          <ac:picMkLst>
            <pc:docMk/>
            <pc:sldMk cId="3939280318" sldId="281"/>
            <ac:picMk id="6" creationId="{6981DD89-006B-E26E-CA7C-E00C011DD0A0}"/>
          </ac:picMkLst>
        </pc:picChg>
        <pc:extLst>
          <p:ext xmlns:p="http://schemas.openxmlformats.org/presentationml/2006/main" uri="{D6D511B9-2390-475A-947B-AFAB55BFBCF1}">
            <pc226:cmChg xmlns:pc226="http://schemas.microsoft.com/office/powerpoint/2022/06/main/command" chg="add mod">
              <pc226:chgData name="Miriam Mathias | Lots*" userId="3a307e93-64a6-49b7-8515-cea2707217ab" providerId="ADAL" clId="{2B290705-2AEF-434D-86F0-043EDED05B87}" dt="2023-09-04T20:43:41.404" v="136" actId="21"/>
              <pc2:cmMkLst xmlns:pc2="http://schemas.microsoft.com/office/powerpoint/2019/9/main/command">
                <pc:docMk/>
                <pc:sldMk cId="3939280318" sldId="281"/>
                <pc2:cmMk id="{2952A488-CFF7-4986-9150-9EFE3346E72B}"/>
              </pc2:cmMkLst>
            </pc226:cmChg>
          </p:ext>
        </pc:extLst>
      </pc:sldChg>
      <pc:sldChg chg="addSp delSp modSp mod addCm">
        <pc:chgData name="Miriam Mathias | Lots*" userId="3a307e93-64a6-49b7-8515-cea2707217ab" providerId="ADAL" clId="{2B290705-2AEF-434D-86F0-043EDED05B87}" dt="2023-09-04T20:44:03.270" v="142" actId="1076"/>
        <pc:sldMkLst>
          <pc:docMk/>
          <pc:sldMk cId="750475334" sldId="282"/>
        </pc:sldMkLst>
        <pc:spChg chg="mod">
          <ac:chgData name="Miriam Mathias | Lots*" userId="3a307e93-64a6-49b7-8515-cea2707217ab" providerId="ADAL" clId="{2B290705-2AEF-434D-86F0-043EDED05B87}" dt="2023-09-04T20:44:03.270" v="142" actId="1076"/>
          <ac:spMkLst>
            <pc:docMk/>
            <pc:sldMk cId="750475334" sldId="282"/>
            <ac:spMk id="3" creationId="{65113678-3CC0-2891-86E6-C7D9E3ADED8C}"/>
          </ac:spMkLst>
        </pc:spChg>
        <pc:picChg chg="del">
          <ac:chgData name="Miriam Mathias | Lots*" userId="3a307e93-64a6-49b7-8515-cea2707217ab" providerId="ADAL" clId="{2B290705-2AEF-434D-86F0-043EDED05B87}" dt="2023-09-04T20:41:46.568" v="112" actId="478"/>
          <ac:picMkLst>
            <pc:docMk/>
            <pc:sldMk cId="750475334" sldId="282"/>
            <ac:picMk id="7" creationId="{01FC6DD6-C609-E168-3E45-61A9A2104884}"/>
          </ac:picMkLst>
        </pc:picChg>
        <pc:picChg chg="add del mod modCrop">
          <ac:chgData name="Miriam Mathias | Lots*" userId="3a307e93-64a6-49b7-8515-cea2707217ab" providerId="ADAL" clId="{2B290705-2AEF-434D-86F0-043EDED05B87}" dt="2023-09-04T20:41:45.010" v="111" actId="21"/>
          <ac:picMkLst>
            <pc:docMk/>
            <pc:sldMk cId="750475334" sldId="282"/>
            <ac:picMk id="8" creationId="{A91A640A-EAE4-63A6-FA27-456A34F4E7A5}"/>
          </ac:picMkLst>
        </pc:picChg>
        <pc:picChg chg="add mod">
          <ac:chgData name="Miriam Mathias | Lots*" userId="3a307e93-64a6-49b7-8515-cea2707217ab" providerId="ADAL" clId="{2B290705-2AEF-434D-86F0-043EDED05B87}" dt="2023-09-04T20:43:54.397" v="140" actId="1076"/>
          <ac:picMkLst>
            <pc:docMk/>
            <pc:sldMk cId="750475334" sldId="282"/>
            <ac:picMk id="9" creationId="{FF2FE096-D751-FB3E-1A19-1983C5C625D0}"/>
          </ac:picMkLst>
        </pc:picChg>
        <pc:picChg chg="add del mod">
          <ac:chgData name="Miriam Mathias | Lots*" userId="3a307e93-64a6-49b7-8515-cea2707217ab" providerId="ADAL" clId="{2B290705-2AEF-434D-86F0-043EDED05B87}" dt="2023-09-04T20:43:56.939" v="141" actId="478"/>
          <ac:picMkLst>
            <pc:docMk/>
            <pc:sldMk cId="750475334" sldId="282"/>
            <ac:picMk id="10" creationId="{1708DD30-11D7-8D0D-4817-EB253F29FE97}"/>
          </ac:picMkLst>
        </pc:picChg>
        <pc:extLst>
          <p:ext xmlns:p="http://schemas.openxmlformats.org/presentationml/2006/main" uri="{D6D511B9-2390-475A-947B-AFAB55BFBCF1}">
            <pc226:cmChg xmlns:pc226="http://schemas.microsoft.com/office/powerpoint/2022/06/main/command" chg="add">
              <pc226:chgData name="Miriam Mathias | Lots*" userId="3a307e93-64a6-49b7-8515-cea2707217ab" providerId="ADAL" clId="{2B290705-2AEF-434D-86F0-043EDED05B87}" dt="2023-09-04T20:42:00.157" v="114"/>
              <pc2:cmMkLst xmlns:pc2="http://schemas.microsoft.com/office/powerpoint/2019/9/main/command">
                <pc:docMk/>
                <pc:sldMk cId="750475334" sldId="282"/>
                <pc2:cmMk id="{C560F6A8-818E-414E-857F-475FD6E3073E}"/>
              </pc2:cmMkLst>
            </pc226:cmChg>
          </p:ext>
        </pc:extLst>
      </pc:sldChg>
      <pc:sldChg chg="addSp delSp modSp mod addCm modNotesTx">
        <pc:chgData name="Miriam Mathias | Lots*" userId="3a307e93-64a6-49b7-8515-cea2707217ab" providerId="ADAL" clId="{2B290705-2AEF-434D-86F0-043EDED05B87}" dt="2023-09-04T21:05:59.162" v="339"/>
        <pc:sldMkLst>
          <pc:docMk/>
          <pc:sldMk cId="2204183151" sldId="283"/>
        </pc:sldMkLst>
        <pc:spChg chg="del mod">
          <ac:chgData name="Miriam Mathias | Lots*" userId="3a307e93-64a6-49b7-8515-cea2707217ab" providerId="ADAL" clId="{2B290705-2AEF-434D-86F0-043EDED05B87}" dt="2023-09-04T20:42:13.864" v="121"/>
          <ac:spMkLst>
            <pc:docMk/>
            <pc:sldMk cId="2204183151" sldId="283"/>
            <ac:spMk id="3" creationId="{8A0F8763-3638-357F-7874-606C317ADBFA}"/>
          </ac:spMkLst>
        </pc:spChg>
        <pc:spChg chg="del">
          <ac:chgData name="Miriam Mathias | Lots*" userId="3a307e93-64a6-49b7-8515-cea2707217ab" providerId="ADAL" clId="{2B290705-2AEF-434D-86F0-043EDED05B87}" dt="2023-09-04T20:55:54.789" v="251" actId="478"/>
          <ac:spMkLst>
            <pc:docMk/>
            <pc:sldMk cId="2204183151" sldId="283"/>
            <ac:spMk id="9" creationId="{10CCD909-28F6-F309-8462-59CCE2353E63}"/>
          </ac:spMkLst>
        </pc:spChg>
        <pc:picChg chg="del">
          <ac:chgData name="Miriam Mathias | Lots*" userId="3a307e93-64a6-49b7-8515-cea2707217ab" providerId="ADAL" clId="{2B290705-2AEF-434D-86F0-043EDED05B87}" dt="2023-09-04T20:42:13.853" v="119" actId="478"/>
          <ac:picMkLst>
            <pc:docMk/>
            <pc:sldMk cId="2204183151" sldId="283"/>
            <ac:picMk id="5" creationId="{07CF56FD-09F9-798A-613C-858AB7A7C26C}"/>
          </ac:picMkLst>
        </pc:picChg>
        <pc:picChg chg="del">
          <ac:chgData name="Miriam Mathias | Lots*" userId="3a307e93-64a6-49b7-8515-cea2707217ab" providerId="ADAL" clId="{2B290705-2AEF-434D-86F0-043EDED05B87}" dt="2023-09-04T20:42:20.545" v="124" actId="478"/>
          <ac:picMkLst>
            <pc:docMk/>
            <pc:sldMk cId="2204183151" sldId="283"/>
            <ac:picMk id="6" creationId="{B2031D25-C699-03BD-18B1-275FF3C14F15}"/>
          </ac:picMkLst>
        </pc:picChg>
        <pc:picChg chg="add del mod modCrop">
          <ac:chgData name="Miriam Mathias | Lots*" userId="3a307e93-64a6-49b7-8515-cea2707217ab" providerId="ADAL" clId="{2B290705-2AEF-434D-86F0-043EDED05B87}" dt="2023-09-04T20:49:12.463" v="191" actId="21"/>
          <ac:picMkLst>
            <pc:docMk/>
            <pc:sldMk cId="2204183151" sldId="283"/>
            <ac:picMk id="8" creationId="{C39AA175-CE0B-AC1D-3FDA-B111D72A66FA}"/>
          </ac:picMkLst>
        </pc:picChg>
        <pc:picChg chg="add del mod">
          <ac:chgData name="Miriam Mathias | Lots*" userId="3a307e93-64a6-49b7-8515-cea2707217ab" providerId="ADAL" clId="{2B290705-2AEF-434D-86F0-043EDED05B87}" dt="2023-09-04T20:43:11.015" v="133" actId="478"/>
          <ac:picMkLst>
            <pc:docMk/>
            <pc:sldMk cId="2204183151" sldId="283"/>
            <ac:picMk id="10" creationId="{974BC305-E63A-6030-A4FD-962F9168D6AB}"/>
          </ac:picMkLst>
        </pc:picChg>
        <pc:picChg chg="add del mod">
          <ac:chgData name="Miriam Mathias | Lots*" userId="3a307e93-64a6-49b7-8515-cea2707217ab" providerId="ADAL" clId="{2B290705-2AEF-434D-86F0-043EDED05B87}" dt="2023-09-04T20:43:46.541" v="138"/>
          <ac:picMkLst>
            <pc:docMk/>
            <pc:sldMk cId="2204183151" sldId="283"/>
            <ac:picMk id="11" creationId="{046C3444-4EC5-B7BC-1154-5450C21B1132}"/>
          </ac:picMkLst>
        </pc:picChg>
        <pc:picChg chg="add del mod">
          <ac:chgData name="Miriam Mathias | Lots*" userId="3a307e93-64a6-49b7-8515-cea2707217ab" providerId="ADAL" clId="{2B290705-2AEF-434D-86F0-043EDED05B87}" dt="2023-09-04T20:48:56.309" v="186" actId="21"/>
          <ac:picMkLst>
            <pc:docMk/>
            <pc:sldMk cId="2204183151" sldId="283"/>
            <ac:picMk id="12" creationId="{1438A2C2-1627-DDCF-1F41-7960EB34FC02}"/>
          </ac:picMkLst>
        </pc:picChg>
        <pc:picChg chg="add del mod ord modCrop">
          <ac:chgData name="Miriam Mathias | Lots*" userId="3a307e93-64a6-49b7-8515-cea2707217ab" providerId="ADAL" clId="{2B290705-2AEF-434D-86F0-043EDED05B87}" dt="2023-09-04T20:55:52.062" v="250" actId="478"/>
          <ac:picMkLst>
            <pc:docMk/>
            <pc:sldMk cId="2204183151" sldId="283"/>
            <ac:picMk id="13" creationId="{3F466F72-B456-392B-242C-C1F2AAA937B4}"/>
          </ac:picMkLst>
        </pc:picChg>
        <pc:picChg chg="add del mod">
          <ac:chgData name="Miriam Mathias | Lots*" userId="3a307e93-64a6-49b7-8515-cea2707217ab" providerId="ADAL" clId="{2B290705-2AEF-434D-86F0-043EDED05B87}" dt="2023-09-04T20:55:41.410" v="248"/>
          <ac:picMkLst>
            <pc:docMk/>
            <pc:sldMk cId="2204183151" sldId="283"/>
            <ac:picMk id="14" creationId="{2FBEC846-2C3A-A0FD-D737-4F3FC1536B50}"/>
          </ac:picMkLst>
        </pc:picChg>
        <pc:picChg chg="add mod modCrop">
          <ac:chgData name="Miriam Mathias | Lots*" userId="3a307e93-64a6-49b7-8515-cea2707217ab" providerId="ADAL" clId="{2B290705-2AEF-434D-86F0-043EDED05B87}" dt="2023-09-04T20:57:03.357" v="262" actId="1076"/>
          <ac:picMkLst>
            <pc:docMk/>
            <pc:sldMk cId="2204183151" sldId="283"/>
            <ac:picMk id="16" creationId="{BF736506-CC3E-E556-E840-3BBB9FDFF889}"/>
          </ac:picMkLst>
        </pc:picChg>
        <pc:picChg chg="add del mod">
          <ac:chgData name="Miriam Mathias | Lots*" userId="3a307e93-64a6-49b7-8515-cea2707217ab" providerId="ADAL" clId="{2B290705-2AEF-434D-86F0-043EDED05B87}" dt="2023-09-04T20:57:04.970" v="263" actId="478"/>
          <ac:picMkLst>
            <pc:docMk/>
            <pc:sldMk cId="2204183151" sldId="283"/>
            <ac:picMk id="17" creationId="{69C1B5CD-BF9C-AD0A-05EC-B62F0B2197BF}"/>
          </ac:picMkLst>
        </pc:picChg>
        <pc:extLst>
          <p:ext xmlns:p="http://schemas.openxmlformats.org/presentationml/2006/main" uri="{D6D511B9-2390-475A-947B-AFAB55BFBCF1}">
            <pc226:cmChg xmlns:pc226="http://schemas.microsoft.com/office/powerpoint/2022/06/main/command" chg="add">
              <pc226:chgData name="Miriam Mathias | Lots*" userId="3a307e93-64a6-49b7-8515-cea2707217ab" providerId="ADAL" clId="{2B290705-2AEF-434D-86F0-043EDED05B87}" dt="2023-09-04T21:05:59.162" v="339"/>
              <pc2:cmMkLst xmlns:pc2="http://schemas.microsoft.com/office/powerpoint/2019/9/main/command">
                <pc:docMk/>
                <pc:sldMk cId="2204183151" sldId="283"/>
                <pc2:cmMk id="{8CD13FD2-C131-4984-9454-564C0FEEBB62}"/>
              </pc2:cmMkLst>
            </pc226:cmChg>
          </p:ext>
        </pc:extLst>
      </pc:sldChg>
      <pc:sldChg chg="addSp delSp modSp mod addCm modNotesTx">
        <pc:chgData name="Miriam Mathias | Lots*" userId="3a307e93-64a6-49b7-8515-cea2707217ab" providerId="ADAL" clId="{2B290705-2AEF-434D-86F0-043EDED05B87}" dt="2023-09-04T21:06:04.031" v="340"/>
        <pc:sldMkLst>
          <pc:docMk/>
          <pc:sldMk cId="1522773124" sldId="284"/>
        </pc:sldMkLst>
        <pc:spChg chg="del mod">
          <ac:chgData name="Miriam Mathias | Lots*" userId="3a307e93-64a6-49b7-8515-cea2707217ab" providerId="ADAL" clId="{2B290705-2AEF-434D-86F0-043EDED05B87}" dt="2023-09-04T20:44:23.010" v="148"/>
          <ac:spMkLst>
            <pc:docMk/>
            <pc:sldMk cId="1522773124" sldId="284"/>
            <ac:spMk id="8" creationId="{D82605E8-20F4-093E-4564-7FF8A729D8DA}"/>
          </ac:spMkLst>
        </pc:spChg>
        <pc:picChg chg="del">
          <ac:chgData name="Miriam Mathias | Lots*" userId="3a307e93-64a6-49b7-8515-cea2707217ab" providerId="ADAL" clId="{2B290705-2AEF-434D-86F0-043EDED05B87}" dt="2023-09-04T20:44:23.010" v="146" actId="478"/>
          <ac:picMkLst>
            <pc:docMk/>
            <pc:sldMk cId="1522773124" sldId="284"/>
            <ac:picMk id="4" creationId="{E8964834-25D4-AE5C-C2F3-6D66CE7F21AA}"/>
          </ac:picMkLst>
        </pc:picChg>
        <pc:picChg chg="add del mod modCrop">
          <ac:chgData name="Miriam Mathias | Lots*" userId="3a307e93-64a6-49b7-8515-cea2707217ab" providerId="ADAL" clId="{2B290705-2AEF-434D-86F0-043EDED05B87}" dt="2023-09-04T20:58:12.622" v="275" actId="21"/>
          <ac:picMkLst>
            <pc:docMk/>
            <pc:sldMk cId="1522773124" sldId="284"/>
            <ac:picMk id="5" creationId="{9AD11039-ED02-F019-5C28-C3145FD874E8}"/>
          </ac:picMkLst>
        </pc:picChg>
        <pc:picChg chg="del">
          <ac:chgData name="Miriam Mathias | Lots*" userId="3a307e93-64a6-49b7-8515-cea2707217ab" providerId="ADAL" clId="{2B290705-2AEF-434D-86F0-043EDED05B87}" dt="2023-09-04T20:44:54.608" v="155" actId="478"/>
          <ac:picMkLst>
            <pc:docMk/>
            <pc:sldMk cId="1522773124" sldId="284"/>
            <ac:picMk id="6" creationId="{96A3D742-457B-E741-210A-1FDD5A7D585B}"/>
          </ac:picMkLst>
        </pc:picChg>
        <pc:picChg chg="add del mod">
          <ac:chgData name="Miriam Mathias | Lots*" userId="3a307e93-64a6-49b7-8515-cea2707217ab" providerId="ADAL" clId="{2B290705-2AEF-434D-86F0-043EDED05B87}" dt="2023-09-04T20:45:17.481" v="159" actId="478"/>
          <ac:picMkLst>
            <pc:docMk/>
            <pc:sldMk cId="1522773124" sldId="284"/>
            <ac:picMk id="7" creationId="{F41301F5-65C0-6126-849D-05B4BF2BB1D9}"/>
          </ac:picMkLst>
        </pc:picChg>
        <pc:picChg chg="add del mod">
          <ac:chgData name="Miriam Mathias | Lots*" userId="3a307e93-64a6-49b7-8515-cea2707217ab" providerId="ADAL" clId="{2B290705-2AEF-434D-86F0-043EDED05B87}" dt="2023-09-04T20:48:42.290" v="184"/>
          <ac:picMkLst>
            <pc:docMk/>
            <pc:sldMk cId="1522773124" sldId="284"/>
            <ac:picMk id="9" creationId="{AF280EFF-DA65-3A51-4E9B-04EAAC0DAFDB}"/>
          </ac:picMkLst>
        </pc:picChg>
        <pc:picChg chg="add del mod">
          <ac:chgData name="Miriam Mathias | Lots*" userId="3a307e93-64a6-49b7-8515-cea2707217ab" providerId="ADAL" clId="{2B290705-2AEF-434D-86F0-043EDED05B87}" dt="2023-09-04T20:57:15.829" v="265" actId="478"/>
          <ac:picMkLst>
            <pc:docMk/>
            <pc:sldMk cId="1522773124" sldId="284"/>
            <ac:picMk id="10" creationId="{99A63A5B-528E-FE74-AF11-16C13434DF1D}"/>
          </ac:picMkLst>
        </pc:picChg>
        <pc:picChg chg="add del mod ord">
          <ac:chgData name="Miriam Mathias | Lots*" userId="3a307e93-64a6-49b7-8515-cea2707217ab" providerId="ADAL" clId="{2B290705-2AEF-434D-86F0-043EDED05B87}" dt="2023-09-04T20:58:14.750" v="276" actId="478"/>
          <ac:picMkLst>
            <pc:docMk/>
            <pc:sldMk cId="1522773124" sldId="284"/>
            <ac:picMk id="11" creationId="{BEA52222-F809-2382-131B-0ADCB9AF9CD5}"/>
          </ac:picMkLst>
        </pc:picChg>
        <pc:picChg chg="add mod">
          <ac:chgData name="Miriam Mathias | Lots*" userId="3a307e93-64a6-49b7-8515-cea2707217ab" providerId="ADAL" clId="{2B290705-2AEF-434D-86F0-043EDED05B87}" dt="2023-09-04T20:58:15.247" v="277"/>
          <ac:picMkLst>
            <pc:docMk/>
            <pc:sldMk cId="1522773124" sldId="284"/>
            <ac:picMk id="12" creationId="{00A2321A-1E6B-9479-6E55-60B5D4D02EA5}"/>
          </ac:picMkLst>
        </pc:picChg>
        <pc:extLst>
          <p:ext xmlns:p="http://schemas.openxmlformats.org/presentationml/2006/main" uri="{D6D511B9-2390-475A-947B-AFAB55BFBCF1}">
            <pc226:cmChg xmlns:pc226="http://schemas.microsoft.com/office/powerpoint/2022/06/main/command" chg="add">
              <pc226:chgData name="Miriam Mathias | Lots*" userId="3a307e93-64a6-49b7-8515-cea2707217ab" providerId="ADAL" clId="{2B290705-2AEF-434D-86F0-043EDED05B87}" dt="2023-09-04T21:06:04.031" v="340"/>
              <pc2:cmMkLst xmlns:pc2="http://schemas.microsoft.com/office/powerpoint/2019/9/main/command">
                <pc:docMk/>
                <pc:sldMk cId="1522773124" sldId="284"/>
                <pc2:cmMk id="{9AA3C753-14E6-42D4-BF23-BE423AE0C7EC}"/>
              </pc2:cmMkLst>
            </pc226:cmChg>
          </p:ext>
        </pc:extLst>
      </pc:sldChg>
      <pc:sldChg chg="addSp delSp modSp mod addCm modNotesTx">
        <pc:chgData name="Miriam Mathias | Lots*" userId="3a307e93-64a6-49b7-8515-cea2707217ab" providerId="ADAL" clId="{2B290705-2AEF-434D-86F0-043EDED05B87}" dt="2023-09-04T21:06:08.487" v="341"/>
        <pc:sldMkLst>
          <pc:docMk/>
          <pc:sldMk cId="2439754598" sldId="285"/>
        </pc:sldMkLst>
        <pc:spChg chg="mod">
          <ac:chgData name="Miriam Mathias | Lots*" userId="3a307e93-64a6-49b7-8515-cea2707217ab" providerId="ADAL" clId="{2B290705-2AEF-434D-86F0-043EDED05B87}" dt="2023-09-04T20:45:34.884" v="160" actId="21"/>
          <ac:spMkLst>
            <pc:docMk/>
            <pc:sldMk cId="2439754598" sldId="285"/>
            <ac:spMk id="7" creationId="{7382A28D-005D-B5D3-5C08-AD8F52FFDFF8}"/>
          </ac:spMkLst>
        </pc:spChg>
        <pc:picChg chg="del">
          <ac:chgData name="Miriam Mathias | Lots*" userId="3a307e93-64a6-49b7-8515-cea2707217ab" providerId="ADAL" clId="{2B290705-2AEF-434D-86F0-043EDED05B87}" dt="2023-09-04T20:45:40.867" v="164" actId="478"/>
          <ac:picMkLst>
            <pc:docMk/>
            <pc:sldMk cId="2439754598" sldId="285"/>
            <ac:picMk id="4" creationId="{23CDD46D-D76F-7744-1618-45D303E480F0}"/>
          </ac:picMkLst>
        </pc:picChg>
        <pc:picChg chg="del">
          <ac:chgData name="Miriam Mathias | Lots*" userId="3a307e93-64a6-49b7-8515-cea2707217ab" providerId="ADAL" clId="{2B290705-2AEF-434D-86F0-043EDED05B87}" dt="2023-09-04T20:45:42.265" v="165" actId="478"/>
          <ac:picMkLst>
            <pc:docMk/>
            <pc:sldMk cId="2439754598" sldId="285"/>
            <ac:picMk id="5" creationId="{3D02AEC2-D82F-BC0B-5A31-D78333A2A4F2}"/>
          </ac:picMkLst>
        </pc:picChg>
        <pc:picChg chg="add mod modCrop">
          <ac:chgData name="Miriam Mathias | Lots*" userId="3a307e93-64a6-49b7-8515-cea2707217ab" providerId="ADAL" clId="{2B290705-2AEF-434D-86F0-043EDED05B87}" dt="2023-09-04T20:59:45.336" v="291" actId="1076"/>
          <ac:picMkLst>
            <pc:docMk/>
            <pc:sldMk cId="2439754598" sldId="285"/>
            <ac:picMk id="6" creationId="{62FFFCC7-FD57-7085-3C7B-2BEA2A586413}"/>
          </ac:picMkLst>
        </pc:picChg>
        <pc:picChg chg="add del mod">
          <ac:chgData name="Miriam Mathias | Lots*" userId="3a307e93-64a6-49b7-8515-cea2707217ab" providerId="ADAL" clId="{2B290705-2AEF-434D-86F0-043EDED05B87}" dt="2023-09-04T20:59:47.091" v="292" actId="478"/>
          <ac:picMkLst>
            <pc:docMk/>
            <pc:sldMk cId="2439754598" sldId="285"/>
            <ac:picMk id="8" creationId="{613A180D-600A-3E92-B913-3FC730552C08}"/>
          </ac:picMkLst>
        </pc:picChg>
        <pc:extLst>
          <p:ext xmlns:p="http://schemas.openxmlformats.org/presentationml/2006/main" uri="{D6D511B9-2390-475A-947B-AFAB55BFBCF1}">
            <pc226:cmChg xmlns:pc226="http://schemas.microsoft.com/office/powerpoint/2022/06/main/command" chg="add">
              <pc226:chgData name="Miriam Mathias | Lots*" userId="3a307e93-64a6-49b7-8515-cea2707217ab" providerId="ADAL" clId="{2B290705-2AEF-434D-86F0-043EDED05B87}" dt="2023-09-04T21:06:08.487" v="341"/>
              <pc2:cmMkLst xmlns:pc2="http://schemas.microsoft.com/office/powerpoint/2019/9/main/command">
                <pc:docMk/>
                <pc:sldMk cId="2439754598" sldId="285"/>
                <pc2:cmMk id="{1F4C8F87-250C-459C-9451-91DC37AE9B11}"/>
              </pc2:cmMkLst>
            </pc226:cmChg>
          </p:ext>
        </pc:extLst>
      </pc:sldChg>
      <pc:sldChg chg="addSp delSp modSp mod">
        <pc:chgData name="Miriam Mathias | Lots*" userId="3a307e93-64a6-49b7-8515-cea2707217ab" providerId="ADAL" clId="{2B290705-2AEF-434D-86F0-043EDED05B87}" dt="2023-09-04T21:01:07.810" v="306"/>
        <pc:sldMkLst>
          <pc:docMk/>
          <pc:sldMk cId="2030348663" sldId="286"/>
        </pc:sldMkLst>
        <pc:picChg chg="add del mod modCrop">
          <ac:chgData name="Miriam Mathias | Lots*" userId="3a307e93-64a6-49b7-8515-cea2707217ab" providerId="ADAL" clId="{2B290705-2AEF-434D-86F0-043EDED05B87}" dt="2023-09-04T21:01:06.078" v="304" actId="21"/>
          <ac:picMkLst>
            <pc:docMk/>
            <pc:sldMk cId="2030348663" sldId="286"/>
            <ac:picMk id="4" creationId="{CF5C1BE4-5155-6E2B-5446-A9E9D210B502}"/>
          </ac:picMkLst>
        </pc:picChg>
        <pc:picChg chg="del">
          <ac:chgData name="Miriam Mathias | Lots*" userId="3a307e93-64a6-49b7-8515-cea2707217ab" providerId="ADAL" clId="{2B290705-2AEF-434D-86F0-043EDED05B87}" dt="2023-09-04T21:01:07.441" v="305" actId="478"/>
          <ac:picMkLst>
            <pc:docMk/>
            <pc:sldMk cId="2030348663" sldId="286"/>
            <ac:picMk id="5" creationId="{F5D43FB9-518B-0D61-1B39-109915BF5BE1}"/>
          </ac:picMkLst>
        </pc:picChg>
        <pc:picChg chg="add mod">
          <ac:chgData name="Miriam Mathias | Lots*" userId="3a307e93-64a6-49b7-8515-cea2707217ab" providerId="ADAL" clId="{2B290705-2AEF-434D-86F0-043EDED05B87}" dt="2023-09-04T21:01:07.810" v="306"/>
          <ac:picMkLst>
            <pc:docMk/>
            <pc:sldMk cId="2030348663" sldId="286"/>
            <ac:picMk id="7" creationId="{B44CF4FA-BAD9-8CB6-98C8-12DDC63CB873}"/>
          </ac:picMkLst>
        </pc:picChg>
      </pc:sldChg>
      <pc:sldChg chg="addSp delSp modSp mod modNotesTx">
        <pc:chgData name="Miriam Mathias | Lots*" userId="3a307e93-64a6-49b7-8515-cea2707217ab" providerId="ADAL" clId="{2B290705-2AEF-434D-86F0-043EDED05B87}" dt="2023-09-04T21:02:51.776" v="323" actId="6549"/>
        <pc:sldMkLst>
          <pc:docMk/>
          <pc:sldMk cId="4003896371" sldId="287"/>
        </pc:sldMkLst>
        <pc:picChg chg="del">
          <ac:chgData name="Miriam Mathias | Lots*" userId="3a307e93-64a6-49b7-8515-cea2707217ab" providerId="ADAL" clId="{2B290705-2AEF-434D-86F0-043EDED05B87}" dt="2023-09-04T21:02:44.654" v="321" actId="478"/>
          <ac:picMkLst>
            <pc:docMk/>
            <pc:sldMk cId="4003896371" sldId="287"/>
            <ac:picMk id="4" creationId="{080A3F5B-876B-1BD2-A09C-DE64F4978228}"/>
          </ac:picMkLst>
        </pc:picChg>
        <pc:picChg chg="add del mod modCrop">
          <ac:chgData name="Miriam Mathias | Lots*" userId="3a307e93-64a6-49b7-8515-cea2707217ab" providerId="ADAL" clId="{2B290705-2AEF-434D-86F0-043EDED05B87}" dt="2023-09-04T21:02:43.275" v="320" actId="21"/>
          <ac:picMkLst>
            <pc:docMk/>
            <pc:sldMk cId="4003896371" sldId="287"/>
            <ac:picMk id="5" creationId="{49B7EFB3-7ECF-D1D9-50E8-690541F6C4DE}"/>
          </ac:picMkLst>
        </pc:picChg>
        <pc:picChg chg="add mod">
          <ac:chgData name="Miriam Mathias | Lots*" userId="3a307e93-64a6-49b7-8515-cea2707217ab" providerId="ADAL" clId="{2B290705-2AEF-434D-86F0-043EDED05B87}" dt="2023-09-04T21:02:45.090" v="322"/>
          <ac:picMkLst>
            <pc:docMk/>
            <pc:sldMk cId="4003896371" sldId="287"/>
            <ac:picMk id="6" creationId="{79D6E280-982F-C997-0889-04246E65A411}"/>
          </ac:picMkLst>
        </pc:picChg>
      </pc:sldChg>
      <pc:sldChg chg="addSp delSp modSp mod">
        <pc:chgData name="Miriam Mathias | Lots*" userId="3a307e93-64a6-49b7-8515-cea2707217ab" providerId="ADAL" clId="{2B290705-2AEF-434D-86F0-043EDED05B87}" dt="2023-09-04T20:50:49.294" v="204"/>
        <pc:sldMkLst>
          <pc:docMk/>
          <pc:sldMk cId="3294675944" sldId="301"/>
        </pc:sldMkLst>
        <pc:picChg chg="add del mod modCrop">
          <ac:chgData name="Miriam Mathias | Lots*" userId="3a307e93-64a6-49b7-8515-cea2707217ab" providerId="ADAL" clId="{2B290705-2AEF-434D-86F0-043EDED05B87}" dt="2023-09-04T20:31:51.917" v="12" actId="21"/>
          <ac:picMkLst>
            <pc:docMk/>
            <pc:sldMk cId="3294675944" sldId="301"/>
            <ac:picMk id="4" creationId="{22A7F2CE-3951-B8A9-22F5-64162523357A}"/>
          </ac:picMkLst>
        </pc:picChg>
        <pc:picChg chg="add del mod modCrop">
          <ac:chgData name="Miriam Mathias | Lots*" userId="3a307e93-64a6-49b7-8515-cea2707217ab" providerId="ADAL" clId="{2B290705-2AEF-434D-86F0-043EDED05B87}" dt="2023-09-04T20:50:47.343" v="202" actId="21"/>
          <ac:picMkLst>
            <pc:docMk/>
            <pc:sldMk cId="3294675944" sldId="301"/>
            <ac:picMk id="5" creationId="{44E3A2F2-1583-5A36-7969-A09F0551114E}"/>
          </ac:picMkLst>
        </pc:picChg>
        <pc:picChg chg="add del mod ord">
          <ac:chgData name="Miriam Mathias | Lots*" userId="3a307e93-64a6-49b7-8515-cea2707217ab" providerId="ADAL" clId="{2B290705-2AEF-434D-86F0-043EDED05B87}" dt="2023-09-04T20:50:48.903" v="203" actId="478"/>
          <ac:picMkLst>
            <pc:docMk/>
            <pc:sldMk cId="3294675944" sldId="301"/>
            <ac:picMk id="6" creationId="{E33D73EA-871C-30AD-1995-CB214718AC51}"/>
          </ac:picMkLst>
        </pc:picChg>
        <pc:picChg chg="add mod">
          <ac:chgData name="Miriam Mathias | Lots*" userId="3a307e93-64a6-49b7-8515-cea2707217ab" providerId="ADAL" clId="{2B290705-2AEF-434D-86F0-043EDED05B87}" dt="2023-09-04T20:50:49.294" v="204"/>
          <ac:picMkLst>
            <pc:docMk/>
            <pc:sldMk cId="3294675944" sldId="301"/>
            <ac:picMk id="7" creationId="{39705922-FF3E-728E-FBA8-B01147033406}"/>
          </ac:picMkLst>
        </pc:picChg>
        <pc:picChg chg="del">
          <ac:chgData name="Miriam Mathias | Lots*" userId="3a307e93-64a6-49b7-8515-cea2707217ab" providerId="ADAL" clId="{2B290705-2AEF-434D-86F0-043EDED05B87}" dt="2023-09-04T20:31:53.771" v="13" actId="478"/>
          <ac:picMkLst>
            <pc:docMk/>
            <pc:sldMk cId="3294675944" sldId="301"/>
            <ac:picMk id="8" creationId="{6A1D7B30-BDE4-D438-BABA-EDE536D05EFA}"/>
          </ac:picMkLst>
        </pc:picChg>
      </pc:sldChg>
      <pc:sldChg chg="new del">
        <pc:chgData name="Miriam Mathias | Lots*" userId="3a307e93-64a6-49b7-8515-cea2707217ab" providerId="ADAL" clId="{2B290705-2AEF-434D-86F0-043EDED05B87}" dt="2023-09-04T21:04:50.491" v="334" actId="680"/>
        <pc:sldMkLst>
          <pc:docMk/>
          <pc:sldMk cId="7153235" sldId="312"/>
        </pc:sldMkLst>
      </pc:sldChg>
    </pc:docChg>
  </pc:docChgLst>
  <pc:docChgLst>
    <pc:chgData name="Miriam Mathias | Lots*" userId="3a307e93-64a6-49b7-8515-cea2707217ab" providerId="ADAL" clId="{6E2DBB79-29D1-400C-93E5-37BD6A1E8E13}"/>
    <pc:docChg chg="modSld">
      <pc:chgData name="Miriam Mathias | Lots*" userId="3a307e93-64a6-49b7-8515-cea2707217ab" providerId="ADAL" clId="{6E2DBB79-29D1-400C-93E5-37BD6A1E8E13}" dt="2023-09-08T15:41:25.321" v="0" actId="1076"/>
      <pc:docMkLst>
        <pc:docMk/>
      </pc:docMkLst>
      <pc:sldChg chg="modSp mod">
        <pc:chgData name="Miriam Mathias | Lots*" userId="3a307e93-64a6-49b7-8515-cea2707217ab" providerId="ADAL" clId="{6E2DBB79-29D1-400C-93E5-37BD6A1E8E13}" dt="2023-09-08T15:41:25.321" v="0" actId="1076"/>
        <pc:sldMkLst>
          <pc:docMk/>
          <pc:sldMk cId="2439754598" sldId="285"/>
        </pc:sldMkLst>
        <pc:picChg chg="mod">
          <ac:chgData name="Miriam Mathias | Lots*" userId="3a307e93-64a6-49b7-8515-cea2707217ab" providerId="ADAL" clId="{6E2DBB79-29D1-400C-93E5-37BD6A1E8E13}" dt="2023-09-08T15:41:25.321" v="0" actId="1076"/>
          <ac:picMkLst>
            <pc:docMk/>
            <pc:sldMk cId="2439754598" sldId="285"/>
            <ac:picMk id="3" creationId="{E63980C6-BD84-4EA0-D731-5FD83D96661E}"/>
          </ac:picMkLst>
        </pc:picChg>
      </pc:sldChg>
    </pc:docChg>
  </pc:docChgLst>
  <pc:docChgLst>
    <pc:chgData name="Jan Zederbohm | Lots*" userId="f06a95ea-67a1-48e7-bced-3c578c80c5ce" providerId="ADAL" clId="{9C1B5E37-54A4-2644-B2FF-EAA282D6D721}"/>
    <pc:docChg chg="undo custSel modSld">
      <pc:chgData name="Jan Zederbohm | Lots*" userId="f06a95ea-67a1-48e7-bced-3c578c80c5ce" providerId="ADAL" clId="{9C1B5E37-54A4-2644-B2FF-EAA282D6D721}" dt="2023-09-08T11:56:11.738" v="138" actId="1038"/>
      <pc:docMkLst>
        <pc:docMk/>
      </pc:docMkLst>
      <pc:sldChg chg="modSp mod">
        <pc:chgData name="Jan Zederbohm | Lots*" userId="f06a95ea-67a1-48e7-bced-3c578c80c5ce" providerId="ADAL" clId="{9C1B5E37-54A4-2644-B2FF-EAA282D6D721}" dt="2023-09-08T05:24:57.558" v="42"/>
        <pc:sldMkLst>
          <pc:docMk/>
          <pc:sldMk cId="50375561" sldId="263"/>
        </pc:sldMkLst>
        <pc:spChg chg="mod">
          <ac:chgData name="Jan Zederbohm | Lots*" userId="f06a95ea-67a1-48e7-bced-3c578c80c5ce" providerId="ADAL" clId="{9C1B5E37-54A4-2644-B2FF-EAA282D6D721}" dt="2023-09-08T05:24:57.558" v="42"/>
          <ac:spMkLst>
            <pc:docMk/>
            <pc:sldMk cId="50375561" sldId="263"/>
            <ac:spMk id="4" creationId="{274B19A2-E54F-D73B-CC49-7575169B3826}"/>
          </ac:spMkLst>
        </pc:spChg>
      </pc:sldChg>
      <pc:sldChg chg="addSp delSp modSp mod">
        <pc:chgData name="Jan Zederbohm | Lots*" userId="f06a95ea-67a1-48e7-bced-3c578c80c5ce" providerId="ADAL" clId="{9C1B5E37-54A4-2644-B2FF-EAA282D6D721}" dt="2023-09-08T11:50:56.762" v="61" actId="1037"/>
        <pc:sldMkLst>
          <pc:docMk/>
          <pc:sldMk cId="3373796865" sldId="278"/>
        </pc:sldMkLst>
        <pc:spChg chg="mod">
          <ac:chgData name="Jan Zederbohm | Lots*" userId="f06a95ea-67a1-48e7-bced-3c578c80c5ce" providerId="ADAL" clId="{9C1B5E37-54A4-2644-B2FF-EAA282D6D721}" dt="2023-09-08T11:49:41.901" v="43" actId="14100"/>
          <ac:spMkLst>
            <pc:docMk/>
            <pc:sldMk cId="3373796865" sldId="278"/>
            <ac:spMk id="11" creationId="{8AABD9F5-A79D-2EF5-1F72-256012473009}"/>
          </ac:spMkLst>
        </pc:spChg>
        <pc:picChg chg="add del mod">
          <ac:chgData name="Jan Zederbohm | Lots*" userId="f06a95ea-67a1-48e7-bced-3c578c80c5ce" providerId="ADAL" clId="{9C1B5E37-54A4-2644-B2FF-EAA282D6D721}" dt="2023-09-07T16:12:49.322" v="41" actId="478"/>
          <ac:picMkLst>
            <pc:docMk/>
            <pc:sldMk cId="3373796865" sldId="278"/>
            <ac:picMk id="2" creationId="{17A12125-B7B5-7636-E19B-91DBD0776595}"/>
          </ac:picMkLst>
        </pc:picChg>
        <pc:picChg chg="add del mod">
          <ac:chgData name="Jan Zederbohm | Lots*" userId="f06a95ea-67a1-48e7-bced-3c578c80c5ce" providerId="ADAL" clId="{9C1B5E37-54A4-2644-B2FF-EAA282D6D721}" dt="2023-09-08T11:50:06.428" v="46" actId="478"/>
          <ac:picMkLst>
            <pc:docMk/>
            <pc:sldMk cId="3373796865" sldId="278"/>
            <ac:picMk id="2" creationId="{42520721-4600-C5F6-18E6-AD58ABA9EDF8}"/>
          </ac:picMkLst>
        </pc:picChg>
        <pc:picChg chg="add del mod">
          <ac:chgData name="Jan Zederbohm | Lots*" userId="f06a95ea-67a1-48e7-bced-3c578c80c5ce" providerId="ADAL" clId="{9C1B5E37-54A4-2644-B2FF-EAA282D6D721}" dt="2023-09-08T11:50:25.335" v="51" actId="478"/>
          <ac:picMkLst>
            <pc:docMk/>
            <pc:sldMk cId="3373796865" sldId="278"/>
            <ac:picMk id="3" creationId="{2CEAE918-F9A5-317D-525B-AD4B83176E94}"/>
          </ac:picMkLst>
        </pc:picChg>
        <pc:picChg chg="add del mod">
          <ac:chgData name="Jan Zederbohm | Lots*" userId="f06a95ea-67a1-48e7-bced-3c578c80c5ce" providerId="ADAL" clId="{9C1B5E37-54A4-2644-B2FF-EAA282D6D721}" dt="2023-09-08T11:50:14.257" v="49" actId="478"/>
          <ac:picMkLst>
            <pc:docMk/>
            <pc:sldMk cId="3373796865" sldId="278"/>
            <ac:picMk id="5" creationId="{15AD67A0-5744-238E-3C32-5CFC805DC2FD}"/>
          </ac:picMkLst>
        </pc:picChg>
        <pc:picChg chg="add del mod modCrop">
          <ac:chgData name="Jan Zederbohm | Lots*" userId="f06a95ea-67a1-48e7-bced-3c578c80c5ce" providerId="ADAL" clId="{9C1B5E37-54A4-2644-B2FF-EAA282D6D721}" dt="2023-09-08T11:50:56.762" v="61" actId="1037"/>
          <ac:picMkLst>
            <pc:docMk/>
            <pc:sldMk cId="3373796865" sldId="278"/>
            <ac:picMk id="7" creationId="{BD2A57EF-A37C-F090-3423-11A9B1E63A72}"/>
          </ac:picMkLst>
        </pc:picChg>
      </pc:sldChg>
      <pc:sldChg chg="addSp delSp modSp mod">
        <pc:chgData name="Jan Zederbohm | Lots*" userId="f06a95ea-67a1-48e7-bced-3c578c80c5ce" providerId="ADAL" clId="{9C1B5E37-54A4-2644-B2FF-EAA282D6D721}" dt="2023-09-08T11:52:20.709" v="94" actId="1037"/>
        <pc:sldMkLst>
          <pc:docMk/>
          <pc:sldMk cId="2300507972" sldId="280"/>
        </pc:sldMkLst>
        <pc:picChg chg="add del mod">
          <ac:chgData name="Jan Zederbohm | Lots*" userId="f06a95ea-67a1-48e7-bced-3c578c80c5ce" providerId="ADAL" clId="{9C1B5E37-54A4-2644-B2FF-EAA282D6D721}" dt="2023-09-08T11:51:33.492" v="64" actId="478"/>
          <ac:picMkLst>
            <pc:docMk/>
            <pc:sldMk cId="2300507972" sldId="280"/>
            <ac:picMk id="2" creationId="{C0AE56A9-5298-5214-5C4C-E44DDBE87B27}"/>
          </ac:picMkLst>
        </pc:picChg>
        <pc:picChg chg="mod">
          <ac:chgData name="Jan Zederbohm | Lots*" userId="f06a95ea-67a1-48e7-bced-3c578c80c5ce" providerId="ADAL" clId="{9C1B5E37-54A4-2644-B2FF-EAA282D6D721}" dt="2023-09-08T11:52:20.709" v="94" actId="1037"/>
          <ac:picMkLst>
            <pc:docMk/>
            <pc:sldMk cId="2300507972" sldId="280"/>
            <ac:picMk id="7" creationId="{8F469D4B-FE7F-E19D-E4FD-B70E4F64DE83}"/>
          </ac:picMkLst>
        </pc:picChg>
      </pc:sldChg>
      <pc:sldChg chg="modSp mod">
        <pc:chgData name="Jan Zederbohm | Lots*" userId="f06a95ea-67a1-48e7-bced-3c578c80c5ce" providerId="ADAL" clId="{9C1B5E37-54A4-2644-B2FF-EAA282D6D721}" dt="2023-09-08T11:52:35.676" v="95" actId="1038"/>
        <pc:sldMkLst>
          <pc:docMk/>
          <pc:sldMk cId="3939280318" sldId="281"/>
        </pc:sldMkLst>
        <pc:picChg chg="mod">
          <ac:chgData name="Jan Zederbohm | Lots*" userId="f06a95ea-67a1-48e7-bced-3c578c80c5ce" providerId="ADAL" clId="{9C1B5E37-54A4-2644-B2FF-EAA282D6D721}" dt="2023-09-08T11:52:35.676" v="95" actId="1038"/>
          <ac:picMkLst>
            <pc:docMk/>
            <pc:sldMk cId="3939280318" sldId="281"/>
            <ac:picMk id="6" creationId="{D73EECF0-BC94-241B-69C1-4E5C64A2F8B6}"/>
          </ac:picMkLst>
        </pc:picChg>
      </pc:sldChg>
      <pc:sldChg chg="addSp delSp modSp mod">
        <pc:chgData name="Jan Zederbohm | Lots*" userId="f06a95ea-67a1-48e7-bced-3c578c80c5ce" providerId="ADAL" clId="{9C1B5E37-54A4-2644-B2FF-EAA282D6D721}" dt="2023-09-07T16:09:48.315" v="21" actId="478"/>
        <pc:sldMkLst>
          <pc:docMk/>
          <pc:sldMk cId="750475334" sldId="282"/>
        </pc:sldMkLst>
        <pc:picChg chg="add del mod">
          <ac:chgData name="Jan Zederbohm | Lots*" userId="f06a95ea-67a1-48e7-bced-3c578c80c5ce" providerId="ADAL" clId="{9C1B5E37-54A4-2644-B2FF-EAA282D6D721}" dt="2023-09-07T16:09:48.315" v="21" actId="478"/>
          <ac:picMkLst>
            <pc:docMk/>
            <pc:sldMk cId="750475334" sldId="282"/>
            <ac:picMk id="2" creationId="{AC42BB17-6EAE-B97E-5FBD-18E9BC73460E}"/>
          </ac:picMkLst>
        </pc:picChg>
        <pc:picChg chg="mod modCrop">
          <ac:chgData name="Jan Zederbohm | Lots*" userId="f06a95ea-67a1-48e7-bced-3c578c80c5ce" providerId="ADAL" clId="{9C1B5E37-54A4-2644-B2FF-EAA282D6D721}" dt="2023-09-07T16:09:47.084" v="20" actId="167"/>
          <ac:picMkLst>
            <pc:docMk/>
            <pc:sldMk cId="750475334" sldId="282"/>
            <ac:picMk id="7" creationId="{08EC8774-4E60-0C85-BB6C-8A3323511251}"/>
          </ac:picMkLst>
        </pc:picChg>
      </pc:sldChg>
      <pc:sldChg chg="addSp delSp modSp mod">
        <pc:chgData name="Jan Zederbohm | Lots*" userId="f06a95ea-67a1-48e7-bced-3c578c80c5ce" providerId="ADAL" clId="{9C1B5E37-54A4-2644-B2FF-EAA282D6D721}" dt="2023-09-08T11:54:16.465" v="125" actId="478"/>
        <pc:sldMkLst>
          <pc:docMk/>
          <pc:sldMk cId="2204183151" sldId="283"/>
        </pc:sldMkLst>
        <pc:picChg chg="add del mod">
          <ac:chgData name="Jan Zederbohm | Lots*" userId="f06a95ea-67a1-48e7-bced-3c578c80c5ce" providerId="ADAL" clId="{9C1B5E37-54A4-2644-B2FF-EAA282D6D721}" dt="2023-09-07T16:08:23.737" v="8" actId="478"/>
          <ac:picMkLst>
            <pc:docMk/>
            <pc:sldMk cId="2204183151" sldId="283"/>
            <ac:picMk id="2" creationId="{82A02384-1B3E-630A-7BDB-BC81256BD709}"/>
          </ac:picMkLst>
        </pc:picChg>
        <pc:picChg chg="add del mod">
          <ac:chgData name="Jan Zederbohm | Lots*" userId="f06a95ea-67a1-48e7-bced-3c578c80c5ce" providerId="ADAL" clId="{9C1B5E37-54A4-2644-B2FF-EAA282D6D721}" dt="2023-09-07T16:08:36.854" v="13" actId="478"/>
          <ac:picMkLst>
            <pc:docMk/>
            <pc:sldMk cId="2204183151" sldId="283"/>
            <ac:picMk id="4" creationId="{27C36D4A-DB12-0BE5-60BF-404A8AF08817}"/>
          </ac:picMkLst>
        </pc:picChg>
        <pc:picChg chg="mod modCrop">
          <ac:chgData name="Jan Zederbohm | Lots*" userId="f06a95ea-67a1-48e7-bced-3c578c80c5ce" providerId="ADAL" clId="{9C1B5E37-54A4-2644-B2FF-EAA282D6D721}" dt="2023-09-08T11:54:13.431" v="124" actId="167"/>
          <ac:picMkLst>
            <pc:docMk/>
            <pc:sldMk cId="2204183151" sldId="283"/>
            <ac:picMk id="5" creationId="{E5371370-8E1E-6DD0-7102-6B571087472F}"/>
          </ac:picMkLst>
        </pc:picChg>
        <pc:picChg chg="del">
          <ac:chgData name="Jan Zederbohm | Lots*" userId="f06a95ea-67a1-48e7-bced-3c578c80c5ce" providerId="ADAL" clId="{9C1B5E37-54A4-2644-B2FF-EAA282D6D721}" dt="2023-09-08T11:54:16.465" v="125" actId="478"/>
          <ac:picMkLst>
            <pc:docMk/>
            <pc:sldMk cId="2204183151" sldId="283"/>
            <ac:picMk id="9" creationId="{C281B9AC-28A5-3038-412C-9CB31FCCD7CE}"/>
          </ac:picMkLst>
        </pc:picChg>
        <pc:picChg chg="add del mod">
          <ac:chgData name="Jan Zederbohm | Lots*" userId="f06a95ea-67a1-48e7-bced-3c578c80c5ce" providerId="ADAL" clId="{9C1B5E37-54A4-2644-B2FF-EAA282D6D721}" dt="2023-09-07T16:08:35.218" v="12" actId="478"/>
          <ac:picMkLst>
            <pc:docMk/>
            <pc:sldMk cId="2204183151" sldId="283"/>
            <ac:picMk id="10" creationId="{A702FCA0-4613-01A0-60BC-32D4F10B8A19}"/>
          </ac:picMkLst>
        </pc:picChg>
      </pc:sldChg>
      <pc:sldChg chg="addSp delSp modSp mod">
        <pc:chgData name="Jan Zederbohm | Lots*" userId="f06a95ea-67a1-48e7-bced-3c578c80c5ce" providerId="ADAL" clId="{9C1B5E37-54A4-2644-B2FF-EAA282D6D721}" dt="2023-09-08T11:53:15.489" v="97" actId="478"/>
        <pc:sldMkLst>
          <pc:docMk/>
          <pc:sldMk cId="1522773124" sldId="284"/>
        </pc:sldMkLst>
        <pc:picChg chg="add del mod">
          <ac:chgData name="Jan Zederbohm | Lots*" userId="f06a95ea-67a1-48e7-bced-3c578c80c5ce" providerId="ADAL" clId="{9C1B5E37-54A4-2644-B2FF-EAA282D6D721}" dt="2023-09-08T11:53:15.489" v="97" actId="478"/>
          <ac:picMkLst>
            <pc:docMk/>
            <pc:sldMk cId="1522773124" sldId="284"/>
            <ac:picMk id="2" creationId="{AA290583-A508-E124-A05A-3BB74FD34992}"/>
          </ac:picMkLst>
        </pc:picChg>
      </pc:sldChg>
      <pc:sldChg chg="addSp delSp modSp mod">
        <pc:chgData name="Jan Zederbohm | Lots*" userId="f06a95ea-67a1-48e7-bced-3c578c80c5ce" providerId="ADAL" clId="{9C1B5E37-54A4-2644-B2FF-EAA282D6D721}" dt="2023-09-08T11:56:11.738" v="138" actId="1038"/>
        <pc:sldMkLst>
          <pc:docMk/>
          <pc:sldMk cId="2439754598" sldId="285"/>
        </pc:sldMkLst>
        <pc:picChg chg="add del mod">
          <ac:chgData name="Jan Zederbohm | Lots*" userId="f06a95ea-67a1-48e7-bced-3c578c80c5ce" providerId="ADAL" clId="{9C1B5E37-54A4-2644-B2FF-EAA282D6D721}" dt="2023-09-07T16:11:08.297" v="30" actId="478"/>
          <ac:picMkLst>
            <pc:docMk/>
            <pc:sldMk cId="2439754598" sldId="285"/>
            <ac:picMk id="2" creationId="{16C44A25-1E41-AF81-71A8-DC9AAEC644CD}"/>
          </ac:picMkLst>
        </pc:picChg>
        <pc:picChg chg="add del mod">
          <ac:chgData name="Jan Zederbohm | Lots*" userId="f06a95ea-67a1-48e7-bced-3c578c80c5ce" providerId="ADAL" clId="{9C1B5E37-54A4-2644-B2FF-EAA282D6D721}" dt="2023-09-08T11:53:37.136" v="102" actId="478"/>
          <ac:picMkLst>
            <pc:docMk/>
            <pc:sldMk cId="2439754598" sldId="285"/>
            <ac:picMk id="2" creationId="{3EF2B58F-DF99-D657-6B2C-E0FEF24A5D78}"/>
          </ac:picMkLst>
        </pc:picChg>
        <pc:picChg chg="mod modCrop">
          <ac:chgData name="Jan Zederbohm | Lots*" userId="f06a95ea-67a1-48e7-bced-3c578c80c5ce" providerId="ADAL" clId="{9C1B5E37-54A4-2644-B2FF-EAA282D6D721}" dt="2023-09-08T11:56:11.738" v="138" actId="1038"/>
          <ac:picMkLst>
            <pc:docMk/>
            <pc:sldMk cId="2439754598" sldId="285"/>
            <ac:picMk id="6" creationId="{62FFFCC7-FD57-7085-3C7B-2BEA2A586413}"/>
          </ac:picMkLst>
        </pc:picChg>
      </pc:sldChg>
    </pc:docChg>
  </pc:docChgLst>
  <pc:docChgLst>
    <pc:chgData name="Carina Jahn | Lots*" userId="935b2ce8-b933-40bd-9996-0fcba74d0821" providerId="ADAL" clId="{BC3893D4-DA60-0744-AA34-232D18136B3E}"/>
    <pc:docChg chg="undo custSel modSld modMainMaster">
      <pc:chgData name="Carina Jahn | Lots*" userId="935b2ce8-b933-40bd-9996-0fcba74d0821" providerId="ADAL" clId="{BC3893D4-DA60-0744-AA34-232D18136B3E}" dt="2023-09-05T10:48:08.816" v="291" actId="1076"/>
      <pc:docMkLst>
        <pc:docMk/>
      </pc:docMkLst>
      <pc:sldChg chg="addSp delSp modSp mod">
        <pc:chgData name="Carina Jahn | Lots*" userId="935b2ce8-b933-40bd-9996-0fcba74d0821" providerId="ADAL" clId="{BC3893D4-DA60-0744-AA34-232D18136B3E}" dt="2023-09-05T09:56:38.454" v="11" actId="478"/>
        <pc:sldMkLst>
          <pc:docMk/>
          <pc:sldMk cId="1201763578" sldId="261"/>
        </pc:sldMkLst>
        <pc:spChg chg="add del mod">
          <ac:chgData name="Carina Jahn | Lots*" userId="935b2ce8-b933-40bd-9996-0fcba74d0821" providerId="ADAL" clId="{BC3893D4-DA60-0744-AA34-232D18136B3E}" dt="2023-09-05T09:56:38.454" v="11" actId="478"/>
          <ac:spMkLst>
            <pc:docMk/>
            <pc:sldMk cId="1201763578" sldId="261"/>
            <ac:spMk id="3" creationId="{A78C44C5-F243-0CA3-DEFD-479A8FCB62A5}"/>
          </ac:spMkLst>
        </pc:spChg>
      </pc:sldChg>
      <pc:sldChg chg="addSp delSp modSp mod">
        <pc:chgData name="Carina Jahn | Lots*" userId="935b2ce8-b933-40bd-9996-0fcba74d0821" providerId="ADAL" clId="{BC3893D4-DA60-0744-AA34-232D18136B3E}" dt="2023-09-05T10:01:23.327" v="83"/>
        <pc:sldMkLst>
          <pc:docMk/>
          <pc:sldMk cId="796233532" sldId="269"/>
        </pc:sldMkLst>
        <pc:spChg chg="add mod">
          <ac:chgData name="Carina Jahn | Lots*" userId="935b2ce8-b933-40bd-9996-0fcba74d0821" providerId="ADAL" clId="{BC3893D4-DA60-0744-AA34-232D18136B3E}" dt="2023-09-05T10:01:23.327" v="83"/>
          <ac:spMkLst>
            <pc:docMk/>
            <pc:sldMk cId="796233532" sldId="269"/>
            <ac:spMk id="3" creationId="{4A651463-6E15-6943-CEC4-A21FF437280E}"/>
          </ac:spMkLst>
        </pc:spChg>
        <pc:spChg chg="del">
          <ac:chgData name="Carina Jahn | Lots*" userId="935b2ce8-b933-40bd-9996-0fcba74d0821" providerId="ADAL" clId="{BC3893D4-DA60-0744-AA34-232D18136B3E}" dt="2023-09-05T10:01:19.593" v="81" actId="478"/>
          <ac:spMkLst>
            <pc:docMk/>
            <pc:sldMk cId="796233532" sldId="269"/>
            <ac:spMk id="4" creationId="{5BA6A64F-AF95-15B7-3AF5-D7AC84845E8A}"/>
          </ac:spMkLst>
        </pc:spChg>
      </pc:sldChg>
      <pc:sldChg chg="addSp delSp modSp mod">
        <pc:chgData name="Carina Jahn | Lots*" userId="935b2ce8-b933-40bd-9996-0fcba74d0821" providerId="ADAL" clId="{BC3893D4-DA60-0744-AA34-232D18136B3E}" dt="2023-09-05T09:46:10.040" v="2"/>
        <pc:sldMkLst>
          <pc:docMk/>
          <pc:sldMk cId="1821347959" sldId="271"/>
        </pc:sldMkLst>
        <pc:spChg chg="add del mod">
          <ac:chgData name="Carina Jahn | Lots*" userId="935b2ce8-b933-40bd-9996-0fcba74d0821" providerId="ADAL" clId="{BC3893D4-DA60-0744-AA34-232D18136B3E}" dt="2023-09-05T09:46:10.040" v="2"/>
          <ac:spMkLst>
            <pc:docMk/>
            <pc:sldMk cId="1821347959" sldId="271"/>
            <ac:spMk id="2" creationId="{78ACDFEE-0B1E-5EBA-D820-9A9A055A1C53}"/>
          </ac:spMkLst>
        </pc:spChg>
      </pc:sldChg>
      <pc:sldChg chg="addSp delSp modSp mod">
        <pc:chgData name="Carina Jahn | Lots*" userId="935b2ce8-b933-40bd-9996-0fcba74d0821" providerId="ADAL" clId="{BC3893D4-DA60-0744-AA34-232D18136B3E}" dt="2023-09-05T10:30:00.266" v="271" actId="2711"/>
        <pc:sldMkLst>
          <pc:docMk/>
          <pc:sldMk cId="1961169932" sldId="277"/>
        </pc:sldMkLst>
        <pc:spChg chg="add mod">
          <ac:chgData name="Carina Jahn | Lots*" userId="935b2ce8-b933-40bd-9996-0fcba74d0821" providerId="ADAL" clId="{BC3893D4-DA60-0744-AA34-232D18136B3E}" dt="2023-09-05T10:01:05.299" v="78"/>
          <ac:spMkLst>
            <pc:docMk/>
            <pc:sldMk cId="1961169932" sldId="277"/>
            <ac:spMk id="2" creationId="{F26423E2-3A52-433B-0DD1-ADB16C1CED05}"/>
          </ac:spMkLst>
        </pc:spChg>
        <pc:spChg chg="add del mod">
          <ac:chgData name="Carina Jahn | Lots*" userId="935b2ce8-b933-40bd-9996-0fcba74d0821" providerId="ADAL" clId="{BC3893D4-DA60-0744-AA34-232D18136B3E}" dt="2023-09-05T10:01:07.553" v="79" actId="478"/>
          <ac:spMkLst>
            <pc:docMk/>
            <pc:sldMk cId="1961169932" sldId="277"/>
            <ac:spMk id="4" creationId="{11BABB23-90A7-A8EF-4D3D-FE92874A2AE4}"/>
          </ac:spMkLst>
        </pc:spChg>
        <pc:spChg chg="mod">
          <ac:chgData name="Carina Jahn | Lots*" userId="935b2ce8-b933-40bd-9996-0fcba74d0821" providerId="ADAL" clId="{BC3893D4-DA60-0744-AA34-232D18136B3E}" dt="2023-09-05T10:30:00.266" v="271" actId="2711"/>
          <ac:spMkLst>
            <pc:docMk/>
            <pc:sldMk cId="1961169932" sldId="277"/>
            <ac:spMk id="5" creationId="{BDE904F7-6241-B1EA-F863-A7B9008A8627}"/>
          </ac:spMkLst>
        </pc:spChg>
        <pc:spChg chg="add del mod">
          <ac:chgData name="Carina Jahn | Lots*" userId="935b2ce8-b933-40bd-9996-0fcba74d0821" providerId="ADAL" clId="{BC3893D4-DA60-0744-AA34-232D18136B3E}" dt="2023-09-05T10:01:10.519" v="80" actId="478"/>
          <ac:spMkLst>
            <pc:docMk/>
            <pc:sldMk cId="1961169932" sldId="277"/>
            <ac:spMk id="6" creationId="{69692A58-672A-5AD2-A404-5D359DEF1047}"/>
          </ac:spMkLst>
        </pc:spChg>
      </pc:sldChg>
      <pc:sldChg chg="addSp delSp modSp mod">
        <pc:chgData name="Carina Jahn | Lots*" userId="935b2ce8-b933-40bd-9996-0fcba74d0821" providerId="ADAL" clId="{BC3893D4-DA60-0744-AA34-232D18136B3E}" dt="2023-09-05T10:21:03.291" v="180" actId="14100"/>
        <pc:sldMkLst>
          <pc:docMk/>
          <pc:sldMk cId="3373796865" sldId="278"/>
        </pc:sldMkLst>
        <pc:spChg chg="del">
          <ac:chgData name="Carina Jahn | Lots*" userId="935b2ce8-b933-40bd-9996-0fcba74d0821" providerId="ADAL" clId="{BC3893D4-DA60-0744-AA34-232D18136B3E}" dt="2023-09-05T09:57:52.799" v="15" actId="478"/>
          <ac:spMkLst>
            <pc:docMk/>
            <pc:sldMk cId="3373796865" sldId="278"/>
            <ac:spMk id="2" creationId="{2B6382E5-9453-3F39-8A57-29796F7BEDBC}"/>
          </ac:spMkLst>
        </pc:spChg>
        <pc:spChg chg="add mod">
          <ac:chgData name="Carina Jahn | Lots*" userId="935b2ce8-b933-40bd-9996-0fcba74d0821" providerId="ADAL" clId="{BC3893D4-DA60-0744-AA34-232D18136B3E}" dt="2023-09-05T10:19:33.135" v="162" actId="14100"/>
          <ac:spMkLst>
            <pc:docMk/>
            <pc:sldMk cId="3373796865" sldId="278"/>
            <ac:spMk id="4" creationId="{3837A3E2-33A4-B32C-C56D-DED06F32AF58}"/>
          </ac:spMkLst>
        </pc:spChg>
        <pc:spChg chg="add mod">
          <ac:chgData name="Carina Jahn | Lots*" userId="935b2ce8-b933-40bd-9996-0fcba74d0821" providerId="ADAL" clId="{BC3893D4-DA60-0744-AA34-232D18136B3E}" dt="2023-09-05T10:19:30.870" v="161" actId="571"/>
          <ac:spMkLst>
            <pc:docMk/>
            <pc:sldMk cId="3373796865" sldId="278"/>
            <ac:spMk id="5" creationId="{ECF870A0-CD29-C105-047A-F5DB470B2346}"/>
          </ac:spMkLst>
        </pc:spChg>
        <pc:spChg chg="add del mod">
          <ac:chgData name="Carina Jahn | Lots*" userId="935b2ce8-b933-40bd-9996-0fcba74d0821" providerId="ADAL" clId="{BC3893D4-DA60-0744-AA34-232D18136B3E}" dt="2023-09-05T10:20:30.819" v="175" actId="478"/>
          <ac:spMkLst>
            <pc:docMk/>
            <pc:sldMk cId="3373796865" sldId="278"/>
            <ac:spMk id="6" creationId="{6986C704-94CC-A4DE-6D04-59A2D44B99E1}"/>
          </ac:spMkLst>
        </pc:spChg>
        <pc:spChg chg="mod">
          <ac:chgData name="Carina Jahn | Lots*" userId="935b2ce8-b933-40bd-9996-0fcba74d0821" providerId="ADAL" clId="{BC3893D4-DA60-0744-AA34-232D18136B3E}" dt="2023-09-05T10:21:03.291" v="180" actId="14100"/>
          <ac:spMkLst>
            <pc:docMk/>
            <pc:sldMk cId="3373796865" sldId="278"/>
            <ac:spMk id="11" creationId="{8AABD9F5-A79D-2EF5-1F72-256012473009}"/>
          </ac:spMkLst>
        </pc:spChg>
      </pc:sldChg>
      <pc:sldChg chg="addSp delSp modSp mod">
        <pc:chgData name="Carina Jahn | Lots*" userId="935b2ce8-b933-40bd-9996-0fcba74d0821" providerId="ADAL" clId="{BC3893D4-DA60-0744-AA34-232D18136B3E}" dt="2023-09-05T10:22:20.631" v="199" actId="20577"/>
        <pc:sldMkLst>
          <pc:docMk/>
          <pc:sldMk cId="3571919134" sldId="279"/>
        </pc:sldMkLst>
        <pc:spChg chg="del">
          <ac:chgData name="Carina Jahn | Lots*" userId="935b2ce8-b933-40bd-9996-0fcba74d0821" providerId="ADAL" clId="{BC3893D4-DA60-0744-AA34-232D18136B3E}" dt="2023-09-05T09:58:01.158" v="18" actId="478"/>
          <ac:spMkLst>
            <pc:docMk/>
            <pc:sldMk cId="3571919134" sldId="279"/>
            <ac:spMk id="2" creationId="{11CFBFC3-D4E3-CE21-5B05-F7D2695386DF}"/>
          </ac:spMkLst>
        </pc:spChg>
        <pc:spChg chg="add mod">
          <ac:chgData name="Carina Jahn | Lots*" userId="935b2ce8-b933-40bd-9996-0fcba74d0821" providerId="ADAL" clId="{BC3893D4-DA60-0744-AA34-232D18136B3E}" dt="2023-09-05T10:21:14.526" v="183" actId="14100"/>
          <ac:spMkLst>
            <pc:docMk/>
            <pc:sldMk cId="3571919134" sldId="279"/>
            <ac:spMk id="5" creationId="{BD87E68F-5C88-0F1C-C049-CC479B8F63CB}"/>
          </ac:spMkLst>
        </pc:spChg>
        <pc:spChg chg="add del mod">
          <ac:chgData name="Carina Jahn | Lots*" userId="935b2ce8-b933-40bd-9996-0fcba74d0821" providerId="ADAL" clId="{BC3893D4-DA60-0744-AA34-232D18136B3E}" dt="2023-09-05T10:21:54.857" v="192" actId="478"/>
          <ac:spMkLst>
            <pc:docMk/>
            <pc:sldMk cId="3571919134" sldId="279"/>
            <ac:spMk id="7" creationId="{E987BE88-484D-0B1C-74F0-31EDF278D089}"/>
          </ac:spMkLst>
        </pc:spChg>
        <pc:spChg chg="mod">
          <ac:chgData name="Carina Jahn | Lots*" userId="935b2ce8-b933-40bd-9996-0fcba74d0821" providerId="ADAL" clId="{BC3893D4-DA60-0744-AA34-232D18136B3E}" dt="2023-09-05T10:22:20.631" v="199" actId="20577"/>
          <ac:spMkLst>
            <pc:docMk/>
            <pc:sldMk cId="3571919134" sldId="279"/>
            <ac:spMk id="10" creationId="{8BA5AC54-08D9-4F51-61A9-A42FFC11089B}"/>
          </ac:spMkLst>
        </pc:spChg>
      </pc:sldChg>
      <pc:sldChg chg="addSp delSp modSp mod">
        <pc:chgData name="Carina Jahn | Lots*" userId="935b2ce8-b933-40bd-9996-0fcba74d0821" providerId="ADAL" clId="{BC3893D4-DA60-0744-AA34-232D18136B3E}" dt="2023-09-05T10:23:39.199" v="216" actId="14100"/>
        <pc:sldMkLst>
          <pc:docMk/>
          <pc:sldMk cId="2300507972" sldId="280"/>
        </pc:sldMkLst>
        <pc:spChg chg="del">
          <ac:chgData name="Carina Jahn | Lots*" userId="935b2ce8-b933-40bd-9996-0fcba74d0821" providerId="ADAL" clId="{BC3893D4-DA60-0744-AA34-232D18136B3E}" dt="2023-09-05T09:58:08.978" v="21" actId="478"/>
          <ac:spMkLst>
            <pc:docMk/>
            <pc:sldMk cId="2300507972" sldId="280"/>
            <ac:spMk id="2" creationId="{1AFC927A-857E-FEB3-EA68-8F7B9AD2ED90}"/>
          </ac:spMkLst>
        </pc:spChg>
        <pc:spChg chg="add mod">
          <ac:chgData name="Carina Jahn | Lots*" userId="935b2ce8-b933-40bd-9996-0fcba74d0821" providerId="ADAL" clId="{BC3893D4-DA60-0744-AA34-232D18136B3E}" dt="2023-09-05T10:22:37.079" v="200" actId="14100"/>
          <ac:spMkLst>
            <pc:docMk/>
            <pc:sldMk cId="2300507972" sldId="280"/>
            <ac:spMk id="4" creationId="{1025237C-930E-5212-8F83-17D3B215AA3D}"/>
          </ac:spMkLst>
        </pc:spChg>
        <pc:spChg chg="add del mod">
          <ac:chgData name="Carina Jahn | Lots*" userId="935b2ce8-b933-40bd-9996-0fcba74d0821" providerId="ADAL" clId="{BC3893D4-DA60-0744-AA34-232D18136B3E}" dt="2023-09-05T10:23:33.211" v="215" actId="478"/>
          <ac:spMkLst>
            <pc:docMk/>
            <pc:sldMk cId="2300507972" sldId="280"/>
            <ac:spMk id="5" creationId="{9591EA1C-DE36-F0ED-9052-5E9B5D3DBD4F}"/>
          </ac:spMkLst>
        </pc:spChg>
        <pc:spChg chg="mod">
          <ac:chgData name="Carina Jahn | Lots*" userId="935b2ce8-b933-40bd-9996-0fcba74d0821" providerId="ADAL" clId="{BC3893D4-DA60-0744-AA34-232D18136B3E}" dt="2023-09-05T10:23:39.199" v="216" actId="14100"/>
          <ac:spMkLst>
            <pc:docMk/>
            <pc:sldMk cId="2300507972" sldId="280"/>
            <ac:spMk id="12" creationId="{B753A63E-DFBD-09B8-9C7F-D6276ED8ECB5}"/>
          </ac:spMkLst>
        </pc:spChg>
      </pc:sldChg>
      <pc:sldChg chg="addSp delSp modSp mod">
        <pc:chgData name="Carina Jahn | Lots*" userId="935b2ce8-b933-40bd-9996-0fcba74d0821" providerId="ADAL" clId="{BC3893D4-DA60-0744-AA34-232D18136B3E}" dt="2023-09-05T10:24:16.107" v="225" actId="478"/>
        <pc:sldMkLst>
          <pc:docMk/>
          <pc:sldMk cId="3939280318" sldId="281"/>
        </pc:sldMkLst>
        <pc:spChg chg="del">
          <ac:chgData name="Carina Jahn | Lots*" userId="935b2ce8-b933-40bd-9996-0fcba74d0821" providerId="ADAL" clId="{BC3893D4-DA60-0744-AA34-232D18136B3E}" dt="2023-09-05T09:58:17.563" v="24" actId="478"/>
          <ac:spMkLst>
            <pc:docMk/>
            <pc:sldMk cId="3939280318" sldId="281"/>
            <ac:spMk id="2" creationId="{37171A40-C320-3D0C-BAAB-429AA2247B35}"/>
          </ac:spMkLst>
        </pc:spChg>
        <pc:spChg chg="add mod">
          <ac:chgData name="Carina Jahn | Lots*" userId="935b2ce8-b933-40bd-9996-0fcba74d0821" providerId="ADAL" clId="{BC3893D4-DA60-0744-AA34-232D18136B3E}" dt="2023-09-05T10:23:45.783" v="217" actId="14100"/>
          <ac:spMkLst>
            <pc:docMk/>
            <pc:sldMk cId="3939280318" sldId="281"/>
            <ac:spMk id="5" creationId="{CFB3141C-BE35-46FF-8451-B5021C57D6EF}"/>
          </ac:spMkLst>
        </pc:spChg>
        <pc:spChg chg="add del mod">
          <ac:chgData name="Carina Jahn | Lots*" userId="935b2ce8-b933-40bd-9996-0fcba74d0821" providerId="ADAL" clId="{BC3893D4-DA60-0744-AA34-232D18136B3E}" dt="2023-09-05T10:24:16.107" v="225" actId="478"/>
          <ac:spMkLst>
            <pc:docMk/>
            <pc:sldMk cId="3939280318" sldId="281"/>
            <ac:spMk id="8" creationId="{F042370D-7583-818D-446E-9D43F19E8DB3}"/>
          </ac:spMkLst>
        </pc:spChg>
        <pc:spChg chg="mod">
          <ac:chgData name="Carina Jahn | Lots*" userId="935b2ce8-b933-40bd-9996-0fcba74d0821" providerId="ADAL" clId="{BC3893D4-DA60-0744-AA34-232D18136B3E}" dt="2023-09-05T10:24:13.383" v="224" actId="14100"/>
          <ac:spMkLst>
            <pc:docMk/>
            <pc:sldMk cId="3939280318" sldId="281"/>
            <ac:spMk id="11" creationId="{41F0EBB3-4719-2902-F4E3-50EDA91124F4}"/>
          </ac:spMkLst>
        </pc:spChg>
      </pc:sldChg>
      <pc:sldChg chg="addSp delSp modSp mod">
        <pc:chgData name="Carina Jahn | Lots*" userId="935b2ce8-b933-40bd-9996-0fcba74d0821" providerId="ADAL" clId="{BC3893D4-DA60-0744-AA34-232D18136B3E}" dt="2023-09-05T10:25:02.948" v="233" actId="6549"/>
        <pc:sldMkLst>
          <pc:docMk/>
          <pc:sldMk cId="750475334" sldId="282"/>
        </pc:sldMkLst>
        <pc:spChg chg="del">
          <ac:chgData name="Carina Jahn | Lots*" userId="935b2ce8-b933-40bd-9996-0fcba74d0821" providerId="ADAL" clId="{BC3893D4-DA60-0744-AA34-232D18136B3E}" dt="2023-09-05T09:58:25.278" v="26" actId="478"/>
          <ac:spMkLst>
            <pc:docMk/>
            <pc:sldMk cId="750475334" sldId="282"/>
            <ac:spMk id="2" creationId="{9D3F9097-DF99-AF1A-8E4B-F1F7FE5A7221}"/>
          </ac:spMkLst>
        </pc:spChg>
        <pc:spChg chg="mod">
          <ac:chgData name="Carina Jahn | Lots*" userId="935b2ce8-b933-40bd-9996-0fcba74d0821" providerId="ADAL" clId="{BC3893D4-DA60-0744-AA34-232D18136B3E}" dt="2023-09-05T10:25:02.948" v="233" actId="6549"/>
          <ac:spMkLst>
            <pc:docMk/>
            <pc:sldMk cId="750475334" sldId="282"/>
            <ac:spMk id="3" creationId="{65113678-3CC0-2891-86E6-C7D9E3ADED8C}"/>
          </ac:spMkLst>
        </pc:spChg>
        <pc:spChg chg="mod">
          <ac:chgData name="Carina Jahn | Lots*" userId="935b2ce8-b933-40bd-9996-0fcba74d0821" providerId="ADAL" clId="{BC3893D4-DA60-0744-AA34-232D18136B3E}" dt="2023-09-05T10:24:37.600" v="229" actId="14100"/>
          <ac:spMkLst>
            <pc:docMk/>
            <pc:sldMk cId="750475334" sldId="282"/>
            <ac:spMk id="5" creationId="{BA962CC3-8C14-AD81-0603-212E1A51BA99}"/>
          </ac:spMkLst>
        </pc:spChg>
        <pc:spChg chg="add mod">
          <ac:chgData name="Carina Jahn | Lots*" userId="935b2ce8-b933-40bd-9996-0fcba74d0821" providerId="ADAL" clId="{BC3893D4-DA60-0744-AA34-232D18136B3E}" dt="2023-09-05T09:58:29.089" v="28"/>
          <ac:spMkLst>
            <pc:docMk/>
            <pc:sldMk cId="750475334" sldId="282"/>
            <ac:spMk id="9" creationId="{D8C8EC74-BCB7-15FC-C73B-924A282483B4}"/>
          </ac:spMkLst>
        </pc:spChg>
      </pc:sldChg>
      <pc:sldChg chg="addSp delSp modSp mod">
        <pc:chgData name="Carina Jahn | Lots*" userId="935b2ce8-b933-40bd-9996-0fcba74d0821" providerId="ADAL" clId="{BC3893D4-DA60-0744-AA34-232D18136B3E}" dt="2023-09-05T10:25:36.452" v="236" actId="14100"/>
        <pc:sldMkLst>
          <pc:docMk/>
          <pc:sldMk cId="2204183151" sldId="283"/>
        </pc:sldMkLst>
        <pc:spChg chg="del">
          <ac:chgData name="Carina Jahn | Lots*" userId="935b2ce8-b933-40bd-9996-0fcba74d0821" providerId="ADAL" clId="{BC3893D4-DA60-0744-AA34-232D18136B3E}" dt="2023-09-05T09:58:33.134" v="29" actId="478"/>
          <ac:spMkLst>
            <pc:docMk/>
            <pc:sldMk cId="2204183151" sldId="283"/>
            <ac:spMk id="2" creationId="{53CC5F76-E915-4AC8-0365-8F7BF9215802}"/>
          </ac:spMkLst>
        </pc:spChg>
        <pc:spChg chg="mod">
          <ac:chgData name="Carina Jahn | Lots*" userId="935b2ce8-b933-40bd-9996-0fcba74d0821" providerId="ADAL" clId="{BC3893D4-DA60-0744-AA34-232D18136B3E}" dt="2023-09-05T10:25:36.452" v="236" actId="14100"/>
          <ac:spMkLst>
            <pc:docMk/>
            <pc:sldMk cId="2204183151" sldId="283"/>
            <ac:spMk id="3" creationId="{7D046DB1-11B7-B580-B1D9-BD1D95F48CBD}"/>
          </ac:spMkLst>
        </pc:spChg>
        <pc:spChg chg="add mod">
          <ac:chgData name="Carina Jahn | Lots*" userId="935b2ce8-b933-40bd-9996-0fcba74d0821" providerId="ADAL" clId="{BC3893D4-DA60-0744-AA34-232D18136B3E}" dt="2023-09-05T10:04:06.528" v="84" actId="14100"/>
          <ac:spMkLst>
            <pc:docMk/>
            <pc:sldMk cId="2204183151" sldId="283"/>
            <ac:spMk id="6" creationId="{2DF58441-5653-E47A-5D27-98FD3BF0BF40}"/>
          </ac:spMkLst>
        </pc:spChg>
      </pc:sldChg>
      <pc:sldChg chg="addSp delSp modSp mod">
        <pc:chgData name="Carina Jahn | Lots*" userId="935b2ce8-b933-40bd-9996-0fcba74d0821" providerId="ADAL" clId="{BC3893D4-DA60-0744-AA34-232D18136B3E}" dt="2023-09-05T10:25:53.638" v="240" actId="14100"/>
        <pc:sldMkLst>
          <pc:docMk/>
          <pc:sldMk cId="1522773124" sldId="284"/>
        </pc:sldMkLst>
        <pc:spChg chg="del">
          <ac:chgData name="Carina Jahn | Lots*" userId="935b2ce8-b933-40bd-9996-0fcba74d0821" providerId="ADAL" clId="{BC3893D4-DA60-0744-AA34-232D18136B3E}" dt="2023-09-05T09:58:40.659" v="32" actId="478"/>
          <ac:spMkLst>
            <pc:docMk/>
            <pc:sldMk cId="1522773124" sldId="284"/>
            <ac:spMk id="2" creationId="{27178877-8925-BED3-C03E-2550939EA044}"/>
          </ac:spMkLst>
        </pc:spChg>
        <pc:spChg chg="del mod">
          <ac:chgData name="Carina Jahn | Lots*" userId="935b2ce8-b933-40bd-9996-0fcba74d0821" providerId="ADAL" clId="{BC3893D4-DA60-0744-AA34-232D18136B3E}" dt="2023-09-05T10:09:07.810" v="89" actId="478"/>
          <ac:spMkLst>
            <pc:docMk/>
            <pc:sldMk cId="1522773124" sldId="284"/>
            <ac:spMk id="4" creationId="{BCD39416-253F-1A0F-B522-C48BF03A5042}"/>
          </ac:spMkLst>
        </pc:spChg>
        <pc:spChg chg="add mod">
          <ac:chgData name="Carina Jahn | Lots*" userId="935b2ce8-b933-40bd-9996-0fcba74d0821" providerId="ADAL" clId="{BC3893D4-DA60-0744-AA34-232D18136B3E}" dt="2023-09-05T09:58:44.135" v="34"/>
          <ac:spMkLst>
            <pc:docMk/>
            <pc:sldMk cId="1522773124" sldId="284"/>
            <ac:spMk id="6" creationId="{D94E2FDE-6560-9827-D5B3-5D5C8EA2661A}"/>
          </ac:spMkLst>
        </pc:spChg>
        <pc:spChg chg="add mod">
          <ac:chgData name="Carina Jahn | Lots*" userId="935b2ce8-b933-40bd-9996-0fcba74d0821" providerId="ADAL" clId="{BC3893D4-DA60-0744-AA34-232D18136B3E}" dt="2023-09-05T10:25:53.638" v="240" actId="14100"/>
          <ac:spMkLst>
            <pc:docMk/>
            <pc:sldMk cId="1522773124" sldId="284"/>
            <ac:spMk id="8" creationId="{1B3F1317-55BB-3239-E9A6-0D8BFB78799F}"/>
          </ac:spMkLst>
        </pc:spChg>
      </pc:sldChg>
      <pc:sldChg chg="addSp delSp modSp mod">
        <pc:chgData name="Carina Jahn | Lots*" userId="935b2ce8-b933-40bd-9996-0fcba74d0821" providerId="ADAL" clId="{BC3893D4-DA60-0744-AA34-232D18136B3E}" dt="2023-09-05T10:26:10.775" v="244" actId="14100"/>
        <pc:sldMkLst>
          <pc:docMk/>
          <pc:sldMk cId="2439754598" sldId="285"/>
        </pc:sldMkLst>
        <pc:spChg chg="del">
          <ac:chgData name="Carina Jahn | Lots*" userId="935b2ce8-b933-40bd-9996-0fcba74d0821" providerId="ADAL" clId="{BC3893D4-DA60-0744-AA34-232D18136B3E}" dt="2023-09-05T09:58:48.658" v="35" actId="478"/>
          <ac:spMkLst>
            <pc:docMk/>
            <pc:sldMk cId="2439754598" sldId="285"/>
            <ac:spMk id="2" creationId="{EAB936BD-4BFB-910E-86F6-549A98551139}"/>
          </ac:spMkLst>
        </pc:spChg>
        <pc:spChg chg="mod">
          <ac:chgData name="Carina Jahn | Lots*" userId="935b2ce8-b933-40bd-9996-0fcba74d0821" providerId="ADAL" clId="{BC3893D4-DA60-0744-AA34-232D18136B3E}" dt="2023-09-05T10:26:10.775" v="244" actId="14100"/>
          <ac:spMkLst>
            <pc:docMk/>
            <pc:sldMk cId="2439754598" sldId="285"/>
            <ac:spMk id="4" creationId="{28124179-FFCF-F786-4BF8-560E22282319}"/>
          </ac:spMkLst>
        </pc:spChg>
        <pc:spChg chg="add mod">
          <ac:chgData name="Carina Jahn | Lots*" userId="935b2ce8-b933-40bd-9996-0fcba74d0821" providerId="ADAL" clId="{BC3893D4-DA60-0744-AA34-232D18136B3E}" dt="2023-09-05T09:58:52.279" v="37"/>
          <ac:spMkLst>
            <pc:docMk/>
            <pc:sldMk cId="2439754598" sldId="285"/>
            <ac:spMk id="8" creationId="{6319B648-FCC6-E749-5BDF-FA6A5B102CA8}"/>
          </ac:spMkLst>
        </pc:spChg>
      </pc:sldChg>
      <pc:sldChg chg="addSp delSp modSp mod">
        <pc:chgData name="Carina Jahn | Lots*" userId="935b2ce8-b933-40bd-9996-0fcba74d0821" providerId="ADAL" clId="{BC3893D4-DA60-0744-AA34-232D18136B3E}" dt="2023-09-05T10:26:27.022" v="248" actId="14100"/>
        <pc:sldMkLst>
          <pc:docMk/>
          <pc:sldMk cId="2030348663" sldId="286"/>
        </pc:sldMkLst>
        <pc:spChg chg="del">
          <ac:chgData name="Carina Jahn | Lots*" userId="935b2ce8-b933-40bd-9996-0fcba74d0821" providerId="ADAL" clId="{BC3893D4-DA60-0744-AA34-232D18136B3E}" dt="2023-09-05T09:58:56.814" v="38" actId="478"/>
          <ac:spMkLst>
            <pc:docMk/>
            <pc:sldMk cId="2030348663" sldId="286"/>
            <ac:spMk id="2" creationId="{079B5A66-FA30-985F-F6B0-5510ABE40A4A}"/>
          </ac:spMkLst>
        </pc:spChg>
        <pc:spChg chg="add mod">
          <ac:chgData name="Carina Jahn | Lots*" userId="935b2ce8-b933-40bd-9996-0fcba74d0821" providerId="ADAL" clId="{BC3893D4-DA60-0744-AA34-232D18136B3E}" dt="2023-09-05T10:08:51.729" v="85" actId="14100"/>
          <ac:spMkLst>
            <pc:docMk/>
            <pc:sldMk cId="2030348663" sldId="286"/>
            <ac:spMk id="4" creationId="{CFB82E73-504B-A93F-9FBC-5BC77059C58A}"/>
          </ac:spMkLst>
        </pc:spChg>
        <pc:spChg chg="mod">
          <ac:chgData name="Carina Jahn | Lots*" userId="935b2ce8-b933-40bd-9996-0fcba74d0821" providerId="ADAL" clId="{BC3893D4-DA60-0744-AA34-232D18136B3E}" dt="2023-09-05T10:26:27.022" v="248" actId="14100"/>
          <ac:spMkLst>
            <pc:docMk/>
            <pc:sldMk cId="2030348663" sldId="286"/>
            <ac:spMk id="10" creationId="{7763A5E8-41F1-86F6-0292-50E7930A02F8}"/>
          </ac:spMkLst>
        </pc:spChg>
      </pc:sldChg>
      <pc:sldChg chg="addSp delSp modSp mod">
        <pc:chgData name="Carina Jahn | Lots*" userId="935b2ce8-b933-40bd-9996-0fcba74d0821" providerId="ADAL" clId="{BC3893D4-DA60-0744-AA34-232D18136B3E}" dt="2023-09-05T10:27:01.094" v="255" actId="20577"/>
        <pc:sldMkLst>
          <pc:docMk/>
          <pc:sldMk cId="4003896371" sldId="287"/>
        </pc:sldMkLst>
        <pc:spChg chg="del">
          <ac:chgData name="Carina Jahn | Lots*" userId="935b2ce8-b933-40bd-9996-0fcba74d0821" providerId="ADAL" clId="{BC3893D4-DA60-0744-AA34-232D18136B3E}" dt="2023-09-05T09:59:06.298" v="41" actId="478"/>
          <ac:spMkLst>
            <pc:docMk/>
            <pc:sldMk cId="4003896371" sldId="287"/>
            <ac:spMk id="2" creationId="{7E7A18F5-C42C-DA4F-5220-4714FC681A11}"/>
          </ac:spMkLst>
        </pc:spChg>
        <pc:spChg chg="mod">
          <ac:chgData name="Carina Jahn | Lots*" userId="935b2ce8-b933-40bd-9996-0fcba74d0821" providerId="ADAL" clId="{BC3893D4-DA60-0744-AA34-232D18136B3E}" dt="2023-09-05T10:27:01.094" v="255" actId="20577"/>
          <ac:spMkLst>
            <pc:docMk/>
            <pc:sldMk cId="4003896371" sldId="287"/>
            <ac:spMk id="3" creationId="{E0A1CB6D-8B34-8DD1-7869-64682CA3363A}"/>
          </ac:spMkLst>
        </pc:spChg>
        <pc:spChg chg="add mod">
          <ac:chgData name="Carina Jahn | Lots*" userId="935b2ce8-b933-40bd-9996-0fcba74d0821" providerId="ADAL" clId="{BC3893D4-DA60-0744-AA34-232D18136B3E}" dt="2023-09-05T09:59:09.607" v="43"/>
          <ac:spMkLst>
            <pc:docMk/>
            <pc:sldMk cId="4003896371" sldId="287"/>
            <ac:spMk id="5" creationId="{E1DFD106-E8A3-20C5-5CFF-7FF1AE496215}"/>
          </ac:spMkLst>
        </pc:spChg>
      </pc:sldChg>
      <pc:sldChg chg="addSp delSp modSp mod">
        <pc:chgData name="Carina Jahn | Lots*" userId="935b2ce8-b933-40bd-9996-0fcba74d0821" providerId="ADAL" clId="{BC3893D4-DA60-0744-AA34-232D18136B3E}" dt="2023-09-05T10:27:54.441" v="264" actId="478"/>
        <pc:sldMkLst>
          <pc:docMk/>
          <pc:sldMk cId="3767932245" sldId="292"/>
        </pc:sldMkLst>
        <pc:spChg chg="del">
          <ac:chgData name="Carina Jahn | Lots*" userId="935b2ce8-b933-40bd-9996-0fcba74d0821" providerId="ADAL" clId="{BC3893D4-DA60-0744-AA34-232D18136B3E}" dt="2023-09-05T09:59:15.286" v="44" actId="478"/>
          <ac:spMkLst>
            <pc:docMk/>
            <pc:sldMk cId="3767932245" sldId="292"/>
            <ac:spMk id="2" creationId="{50563CFD-943A-86A5-C890-7A7108987128}"/>
          </ac:spMkLst>
        </pc:spChg>
        <pc:spChg chg="add mod">
          <ac:chgData name="Carina Jahn | Lots*" userId="935b2ce8-b933-40bd-9996-0fcba74d0821" providerId="ADAL" clId="{BC3893D4-DA60-0744-AA34-232D18136B3E}" dt="2023-09-05T10:27:18.427" v="256" actId="14100"/>
          <ac:spMkLst>
            <pc:docMk/>
            <pc:sldMk cId="3767932245" sldId="292"/>
            <ac:spMk id="4" creationId="{B30B874D-CB80-E1CD-0F13-B26C7572E8E8}"/>
          </ac:spMkLst>
        </pc:spChg>
        <pc:spChg chg="add del mod">
          <ac:chgData name="Carina Jahn | Lots*" userId="935b2ce8-b933-40bd-9996-0fcba74d0821" providerId="ADAL" clId="{BC3893D4-DA60-0744-AA34-232D18136B3E}" dt="2023-09-05T10:27:54.441" v="264" actId="478"/>
          <ac:spMkLst>
            <pc:docMk/>
            <pc:sldMk cId="3767932245" sldId="292"/>
            <ac:spMk id="6" creationId="{865CD07A-BB6E-9D65-A894-A76AB1E12436}"/>
          </ac:spMkLst>
        </pc:spChg>
        <pc:spChg chg="mod">
          <ac:chgData name="Carina Jahn | Lots*" userId="935b2ce8-b933-40bd-9996-0fcba74d0821" providerId="ADAL" clId="{BC3893D4-DA60-0744-AA34-232D18136B3E}" dt="2023-09-05T10:27:50.131" v="263" actId="108"/>
          <ac:spMkLst>
            <pc:docMk/>
            <pc:sldMk cId="3767932245" sldId="292"/>
            <ac:spMk id="9" creationId="{CE3EE39F-584A-C056-68E7-88D5622613DE}"/>
          </ac:spMkLst>
        </pc:spChg>
      </pc:sldChg>
      <pc:sldChg chg="addSp delSp modSp mod">
        <pc:chgData name="Carina Jahn | Lots*" userId="935b2ce8-b933-40bd-9996-0fcba74d0821" providerId="ADAL" clId="{BC3893D4-DA60-0744-AA34-232D18136B3E}" dt="2023-09-05T10:18:42.892" v="148" actId="478"/>
        <pc:sldMkLst>
          <pc:docMk/>
          <pc:sldMk cId="2952406896" sldId="293"/>
        </pc:sldMkLst>
        <pc:spChg chg="del">
          <ac:chgData name="Carina Jahn | Lots*" userId="935b2ce8-b933-40bd-9996-0fcba74d0821" providerId="ADAL" clId="{BC3893D4-DA60-0744-AA34-232D18136B3E}" dt="2023-09-05T09:59:29.799" v="48" actId="478"/>
          <ac:spMkLst>
            <pc:docMk/>
            <pc:sldMk cId="2952406896" sldId="293"/>
            <ac:spMk id="2" creationId="{3EEF081E-4DD5-E31E-CD1E-903932FCFFD9}"/>
          </ac:spMkLst>
        </pc:spChg>
        <pc:spChg chg="add mod">
          <ac:chgData name="Carina Jahn | Lots*" userId="935b2ce8-b933-40bd-9996-0fcba74d0821" providerId="ADAL" clId="{BC3893D4-DA60-0744-AA34-232D18136B3E}" dt="2023-09-05T10:18:23.448" v="144" actId="14100"/>
          <ac:spMkLst>
            <pc:docMk/>
            <pc:sldMk cId="2952406896" sldId="293"/>
            <ac:spMk id="4" creationId="{63DA4163-7E6A-30C0-1A1B-5BD76FFFC926}"/>
          </ac:spMkLst>
        </pc:spChg>
        <pc:spChg chg="add del mod">
          <ac:chgData name="Carina Jahn | Lots*" userId="935b2ce8-b933-40bd-9996-0fcba74d0821" providerId="ADAL" clId="{BC3893D4-DA60-0744-AA34-232D18136B3E}" dt="2023-09-05T10:18:42.892" v="148" actId="478"/>
          <ac:spMkLst>
            <pc:docMk/>
            <pc:sldMk cId="2952406896" sldId="293"/>
            <ac:spMk id="5" creationId="{F49289F9-B83C-FB30-2ED1-74F2F2374F95}"/>
          </ac:spMkLst>
        </pc:spChg>
        <pc:spChg chg="mod">
          <ac:chgData name="Carina Jahn | Lots*" userId="935b2ce8-b933-40bd-9996-0fcba74d0821" providerId="ADAL" clId="{BC3893D4-DA60-0744-AA34-232D18136B3E}" dt="2023-09-05T10:18:38.385" v="147" actId="108"/>
          <ac:spMkLst>
            <pc:docMk/>
            <pc:sldMk cId="2952406896" sldId="293"/>
            <ac:spMk id="9" creationId="{C37BEECD-C9FE-CCA0-5A58-38919BEA9C52}"/>
          </ac:spMkLst>
        </pc:spChg>
      </pc:sldChg>
      <pc:sldChg chg="addSp delSp modSp mod">
        <pc:chgData name="Carina Jahn | Lots*" userId="935b2ce8-b933-40bd-9996-0fcba74d0821" providerId="ADAL" clId="{BC3893D4-DA60-0744-AA34-232D18136B3E}" dt="2023-09-05T10:19:25.643" v="159" actId="478"/>
        <pc:sldMkLst>
          <pc:docMk/>
          <pc:sldMk cId="3294675944" sldId="301"/>
        </pc:sldMkLst>
        <pc:spChg chg="del">
          <ac:chgData name="Carina Jahn | Lots*" userId="935b2ce8-b933-40bd-9996-0fcba74d0821" providerId="ADAL" clId="{BC3893D4-DA60-0744-AA34-232D18136B3E}" dt="2023-09-05T09:57:42.542" v="12" actId="478"/>
          <ac:spMkLst>
            <pc:docMk/>
            <pc:sldMk cId="3294675944" sldId="301"/>
            <ac:spMk id="3" creationId="{0599BD8C-22EC-6E30-C6EC-C824CE359DDA}"/>
          </ac:spMkLst>
        </pc:spChg>
        <pc:spChg chg="add mod">
          <ac:chgData name="Carina Jahn | Lots*" userId="935b2ce8-b933-40bd-9996-0fcba74d0821" providerId="ADAL" clId="{BC3893D4-DA60-0744-AA34-232D18136B3E}" dt="2023-09-05T10:18:58.834" v="152" actId="14100"/>
          <ac:spMkLst>
            <pc:docMk/>
            <pc:sldMk cId="3294675944" sldId="301"/>
            <ac:spMk id="5" creationId="{A5FC7E4C-8A43-1642-68BA-F61A1767DA5B}"/>
          </ac:spMkLst>
        </pc:spChg>
        <pc:spChg chg="add del mod">
          <ac:chgData name="Carina Jahn | Lots*" userId="935b2ce8-b933-40bd-9996-0fcba74d0821" providerId="ADAL" clId="{BC3893D4-DA60-0744-AA34-232D18136B3E}" dt="2023-09-05T10:19:25.643" v="159" actId="478"/>
          <ac:spMkLst>
            <pc:docMk/>
            <pc:sldMk cId="3294675944" sldId="301"/>
            <ac:spMk id="7" creationId="{3CEA10E7-24F5-FFB4-E3ED-455327E34CE5}"/>
          </ac:spMkLst>
        </pc:spChg>
        <pc:spChg chg="mod">
          <ac:chgData name="Carina Jahn | Lots*" userId="935b2ce8-b933-40bd-9996-0fcba74d0821" providerId="ADAL" clId="{BC3893D4-DA60-0744-AA34-232D18136B3E}" dt="2023-09-05T10:19:23.324" v="158" actId="108"/>
          <ac:spMkLst>
            <pc:docMk/>
            <pc:sldMk cId="3294675944" sldId="301"/>
            <ac:spMk id="12" creationId="{6964B72D-617D-824B-BBFE-081E038F5067}"/>
          </ac:spMkLst>
        </pc:spChg>
      </pc:sldChg>
      <pc:sldChg chg="addSp delSp modSp mod">
        <pc:chgData name="Carina Jahn | Lots*" userId="935b2ce8-b933-40bd-9996-0fcba74d0821" providerId="ADAL" clId="{BC3893D4-DA60-0744-AA34-232D18136B3E}" dt="2023-09-05T10:17:04.003" v="126" actId="478"/>
        <pc:sldMkLst>
          <pc:docMk/>
          <pc:sldMk cId="928753456" sldId="303"/>
        </pc:sldMkLst>
        <pc:spChg chg="del">
          <ac:chgData name="Carina Jahn | Lots*" userId="935b2ce8-b933-40bd-9996-0fcba74d0821" providerId="ADAL" clId="{BC3893D4-DA60-0744-AA34-232D18136B3E}" dt="2023-09-05T09:59:48.361" v="54" actId="478"/>
          <ac:spMkLst>
            <pc:docMk/>
            <pc:sldMk cId="928753456" sldId="303"/>
            <ac:spMk id="2" creationId="{1AFC927A-857E-FEB3-EA68-8F7B9AD2ED90}"/>
          </ac:spMkLst>
        </pc:spChg>
        <pc:spChg chg="add mod">
          <ac:chgData name="Carina Jahn | Lots*" userId="935b2ce8-b933-40bd-9996-0fcba74d0821" providerId="ADAL" clId="{BC3893D4-DA60-0744-AA34-232D18136B3E}" dt="2023-09-05T10:16:23.024" v="118" actId="14100"/>
          <ac:spMkLst>
            <pc:docMk/>
            <pc:sldMk cId="928753456" sldId="303"/>
            <ac:spMk id="4" creationId="{7ACD3622-5955-9CEF-FC52-3DFEC2E454E7}"/>
          </ac:spMkLst>
        </pc:spChg>
        <pc:spChg chg="add del mod">
          <ac:chgData name="Carina Jahn | Lots*" userId="935b2ce8-b933-40bd-9996-0fcba74d0821" providerId="ADAL" clId="{BC3893D4-DA60-0744-AA34-232D18136B3E}" dt="2023-09-05T10:17:04.003" v="126" actId="478"/>
          <ac:spMkLst>
            <pc:docMk/>
            <pc:sldMk cId="928753456" sldId="303"/>
            <ac:spMk id="6" creationId="{80D6EFBC-A01B-DB90-D60C-619F8917A191}"/>
          </ac:spMkLst>
        </pc:spChg>
        <pc:spChg chg="mod">
          <ac:chgData name="Carina Jahn | Lots*" userId="935b2ce8-b933-40bd-9996-0fcba74d0821" providerId="ADAL" clId="{BC3893D4-DA60-0744-AA34-232D18136B3E}" dt="2023-09-05T10:17:00.959" v="125" actId="108"/>
          <ac:spMkLst>
            <pc:docMk/>
            <pc:sldMk cId="928753456" sldId="303"/>
            <ac:spMk id="11" creationId="{7F740334-E303-889F-6932-6FEBE620E259}"/>
          </ac:spMkLst>
        </pc:spChg>
      </pc:sldChg>
      <pc:sldChg chg="addSp delSp modSp mod">
        <pc:chgData name="Carina Jahn | Lots*" userId="935b2ce8-b933-40bd-9996-0fcba74d0821" providerId="ADAL" clId="{BC3893D4-DA60-0744-AA34-232D18136B3E}" dt="2023-09-05T10:18:06.701" v="140" actId="478"/>
        <pc:sldMkLst>
          <pc:docMk/>
          <pc:sldMk cId="453184260" sldId="304"/>
        </pc:sldMkLst>
        <pc:spChg chg="del">
          <ac:chgData name="Carina Jahn | Lots*" userId="935b2ce8-b933-40bd-9996-0fcba74d0821" providerId="ADAL" clId="{BC3893D4-DA60-0744-AA34-232D18136B3E}" dt="2023-09-05T09:59:40.554" v="51" actId="478"/>
          <ac:spMkLst>
            <pc:docMk/>
            <pc:sldMk cId="453184260" sldId="304"/>
            <ac:spMk id="2" creationId="{1AFC927A-857E-FEB3-EA68-8F7B9AD2ED90}"/>
          </ac:spMkLst>
        </pc:spChg>
        <pc:spChg chg="add mod">
          <ac:chgData name="Carina Jahn | Lots*" userId="935b2ce8-b933-40bd-9996-0fcba74d0821" providerId="ADAL" clId="{BC3893D4-DA60-0744-AA34-232D18136B3E}" dt="2023-09-05T10:17:22.843" v="130" actId="14100"/>
          <ac:spMkLst>
            <pc:docMk/>
            <pc:sldMk cId="453184260" sldId="304"/>
            <ac:spMk id="4" creationId="{96C16E7B-2658-DF62-D749-2BFA9C26ED9E}"/>
          </ac:spMkLst>
        </pc:spChg>
        <pc:spChg chg="add del mod">
          <ac:chgData name="Carina Jahn | Lots*" userId="935b2ce8-b933-40bd-9996-0fcba74d0821" providerId="ADAL" clId="{BC3893D4-DA60-0744-AA34-232D18136B3E}" dt="2023-09-05T10:18:06.701" v="140" actId="478"/>
          <ac:spMkLst>
            <pc:docMk/>
            <pc:sldMk cId="453184260" sldId="304"/>
            <ac:spMk id="5" creationId="{58FC6AAC-3880-31D7-07AE-117B5DBE9721}"/>
          </ac:spMkLst>
        </pc:spChg>
        <pc:spChg chg="mod">
          <ac:chgData name="Carina Jahn | Lots*" userId="935b2ce8-b933-40bd-9996-0fcba74d0821" providerId="ADAL" clId="{BC3893D4-DA60-0744-AA34-232D18136B3E}" dt="2023-09-05T10:18:03.549" v="139" actId="108"/>
          <ac:spMkLst>
            <pc:docMk/>
            <pc:sldMk cId="453184260" sldId="304"/>
            <ac:spMk id="10" creationId="{069D7D50-BC67-444B-82E3-A01E451F3FF9}"/>
          </ac:spMkLst>
        </pc:spChg>
      </pc:sldChg>
      <pc:sldChg chg="addSp delSp modSp mod">
        <pc:chgData name="Carina Jahn | Lots*" userId="935b2ce8-b933-40bd-9996-0fcba74d0821" providerId="ADAL" clId="{BC3893D4-DA60-0744-AA34-232D18136B3E}" dt="2023-09-05T10:15:52.946" v="113" actId="478"/>
        <pc:sldMkLst>
          <pc:docMk/>
          <pc:sldMk cId="2790548384" sldId="305"/>
        </pc:sldMkLst>
        <pc:spChg chg="del">
          <ac:chgData name="Carina Jahn | Lots*" userId="935b2ce8-b933-40bd-9996-0fcba74d0821" providerId="ADAL" clId="{BC3893D4-DA60-0744-AA34-232D18136B3E}" dt="2023-09-05T09:59:56.766" v="57" actId="478"/>
          <ac:spMkLst>
            <pc:docMk/>
            <pc:sldMk cId="2790548384" sldId="305"/>
            <ac:spMk id="2" creationId="{7A083E82-4544-D0F0-F501-C1232B87A59E}"/>
          </ac:spMkLst>
        </pc:spChg>
        <pc:spChg chg="add mod">
          <ac:chgData name="Carina Jahn | Lots*" userId="935b2ce8-b933-40bd-9996-0fcba74d0821" providerId="ADAL" clId="{BC3893D4-DA60-0744-AA34-232D18136B3E}" dt="2023-09-05T10:15:13.003" v="107" actId="14100"/>
          <ac:spMkLst>
            <pc:docMk/>
            <pc:sldMk cId="2790548384" sldId="305"/>
            <ac:spMk id="5" creationId="{6560C2B3-17F0-94B2-34B0-3F5640F9653A}"/>
          </ac:spMkLst>
        </pc:spChg>
        <pc:spChg chg="add del mod">
          <ac:chgData name="Carina Jahn | Lots*" userId="935b2ce8-b933-40bd-9996-0fcba74d0821" providerId="ADAL" clId="{BC3893D4-DA60-0744-AA34-232D18136B3E}" dt="2023-09-05T10:15:52.946" v="113" actId="478"/>
          <ac:spMkLst>
            <pc:docMk/>
            <pc:sldMk cId="2790548384" sldId="305"/>
            <ac:spMk id="6" creationId="{C4E97247-B087-6487-CFDE-972140ADC35F}"/>
          </ac:spMkLst>
        </pc:spChg>
        <pc:spChg chg="mod">
          <ac:chgData name="Carina Jahn | Lots*" userId="935b2ce8-b933-40bd-9996-0fcba74d0821" providerId="ADAL" clId="{BC3893D4-DA60-0744-AA34-232D18136B3E}" dt="2023-09-05T10:15:49.801" v="112" actId="2711"/>
          <ac:spMkLst>
            <pc:docMk/>
            <pc:sldMk cId="2790548384" sldId="305"/>
            <ac:spMk id="10" creationId="{353E74AB-B3D4-58F9-664E-F66CC2658101}"/>
          </ac:spMkLst>
        </pc:spChg>
      </pc:sldChg>
      <pc:sldChg chg="addSp delSp modSp mod">
        <pc:chgData name="Carina Jahn | Lots*" userId="935b2ce8-b933-40bd-9996-0fcba74d0821" providerId="ADAL" clId="{BC3893D4-DA60-0744-AA34-232D18136B3E}" dt="2023-09-05T10:15:07.327" v="106" actId="255"/>
        <pc:sldMkLst>
          <pc:docMk/>
          <pc:sldMk cId="2252997937" sldId="306"/>
        </pc:sldMkLst>
        <pc:spChg chg="del">
          <ac:chgData name="Carina Jahn | Lots*" userId="935b2ce8-b933-40bd-9996-0fcba74d0821" providerId="ADAL" clId="{BC3893D4-DA60-0744-AA34-232D18136B3E}" dt="2023-09-05T10:00:03.901" v="60" actId="478"/>
          <ac:spMkLst>
            <pc:docMk/>
            <pc:sldMk cId="2252997937" sldId="306"/>
            <ac:spMk id="2" creationId="{436B09CA-1BE3-B811-7912-BE39DC81BACD}"/>
          </ac:spMkLst>
        </pc:spChg>
        <pc:spChg chg="mod">
          <ac:chgData name="Carina Jahn | Lots*" userId="935b2ce8-b933-40bd-9996-0fcba74d0821" providerId="ADAL" clId="{BC3893D4-DA60-0744-AA34-232D18136B3E}" dt="2023-09-05T10:15:07.327" v="106" actId="255"/>
          <ac:spMkLst>
            <pc:docMk/>
            <pc:sldMk cId="2252997937" sldId="306"/>
            <ac:spMk id="3" creationId="{8A701EDA-4557-F835-4AEE-F1AD93B31D33}"/>
          </ac:spMkLst>
        </pc:spChg>
        <pc:spChg chg="add mod">
          <ac:chgData name="Carina Jahn | Lots*" userId="935b2ce8-b933-40bd-9996-0fcba74d0821" providerId="ADAL" clId="{BC3893D4-DA60-0744-AA34-232D18136B3E}" dt="2023-09-05T10:12:04.208" v="93" actId="14100"/>
          <ac:spMkLst>
            <pc:docMk/>
            <pc:sldMk cId="2252997937" sldId="306"/>
            <ac:spMk id="5" creationId="{4B86845A-E28D-B397-944D-3F8C8FF49CA5}"/>
          </ac:spMkLst>
        </pc:spChg>
        <pc:spChg chg="add del mod">
          <ac:chgData name="Carina Jahn | Lots*" userId="935b2ce8-b933-40bd-9996-0fcba74d0821" providerId="ADAL" clId="{BC3893D4-DA60-0744-AA34-232D18136B3E}" dt="2023-09-05T10:14:21.311" v="100" actId="478"/>
          <ac:spMkLst>
            <pc:docMk/>
            <pc:sldMk cId="2252997937" sldId="306"/>
            <ac:spMk id="8" creationId="{1B0CA105-B61B-BAF9-E3B4-F052A38A4E86}"/>
          </ac:spMkLst>
        </pc:spChg>
      </pc:sldChg>
      <pc:sldChg chg="addSp delSp modSp mod">
        <pc:chgData name="Carina Jahn | Lots*" userId="935b2ce8-b933-40bd-9996-0fcba74d0821" providerId="ADAL" clId="{BC3893D4-DA60-0744-AA34-232D18136B3E}" dt="2023-09-05T10:30:17.400" v="273"/>
        <pc:sldMkLst>
          <pc:docMk/>
          <pc:sldMk cId="1427355773" sldId="308"/>
        </pc:sldMkLst>
        <pc:spChg chg="del">
          <ac:chgData name="Carina Jahn | Lots*" userId="935b2ce8-b933-40bd-9996-0fcba74d0821" providerId="ADAL" clId="{BC3893D4-DA60-0744-AA34-232D18136B3E}" dt="2023-09-05T10:30:15.410" v="272" actId="478"/>
          <ac:spMkLst>
            <pc:docMk/>
            <pc:sldMk cId="1427355773" sldId="308"/>
            <ac:spMk id="2" creationId="{436B09CA-1BE3-B811-7912-BE39DC81BACD}"/>
          </ac:spMkLst>
        </pc:spChg>
        <pc:spChg chg="add mod">
          <ac:chgData name="Carina Jahn | Lots*" userId="935b2ce8-b933-40bd-9996-0fcba74d0821" providerId="ADAL" clId="{BC3893D4-DA60-0744-AA34-232D18136B3E}" dt="2023-09-05T10:30:17.400" v="273"/>
          <ac:spMkLst>
            <pc:docMk/>
            <pc:sldMk cId="1427355773" sldId="308"/>
            <ac:spMk id="5" creationId="{968971C5-B381-7012-6551-6DB27CFD5E31}"/>
          </ac:spMkLst>
        </pc:spChg>
      </pc:sldChg>
      <pc:sldChg chg="addSp delSp modSp mod">
        <pc:chgData name="Carina Jahn | Lots*" userId="935b2ce8-b933-40bd-9996-0fcba74d0821" providerId="ADAL" clId="{BC3893D4-DA60-0744-AA34-232D18136B3E}" dt="2023-09-05T10:30:25.594" v="275"/>
        <pc:sldMkLst>
          <pc:docMk/>
          <pc:sldMk cId="2941974076" sldId="310"/>
        </pc:sldMkLst>
        <pc:spChg chg="add del mod">
          <ac:chgData name="Carina Jahn | Lots*" userId="935b2ce8-b933-40bd-9996-0fcba74d0821" providerId="ADAL" clId="{BC3893D4-DA60-0744-AA34-232D18136B3E}" dt="2023-09-05T10:30:23.745" v="274" actId="478"/>
          <ac:spMkLst>
            <pc:docMk/>
            <pc:sldMk cId="2941974076" sldId="310"/>
            <ac:spMk id="2" creationId="{436B09CA-1BE3-B811-7912-BE39DC81BACD}"/>
          </ac:spMkLst>
        </pc:spChg>
        <pc:spChg chg="add mod">
          <ac:chgData name="Carina Jahn | Lots*" userId="935b2ce8-b933-40bd-9996-0fcba74d0821" providerId="ADAL" clId="{BC3893D4-DA60-0744-AA34-232D18136B3E}" dt="2023-09-05T10:30:25.594" v="275"/>
          <ac:spMkLst>
            <pc:docMk/>
            <pc:sldMk cId="2941974076" sldId="310"/>
            <ac:spMk id="5" creationId="{D1E052F0-3A7C-9E0E-7D85-36D230E6C421}"/>
          </ac:spMkLst>
        </pc:spChg>
      </pc:sldChg>
      <pc:sldChg chg="addSp delSp modSp mod">
        <pc:chgData name="Carina Jahn | Lots*" userId="935b2ce8-b933-40bd-9996-0fcba74d0821" providerId="ADAL" clId="{BC3893D4-DA60-0744-AA34-232D18136B3E}" dt="2023-09-05T10:00:38.946" v="70"/>
        <pc:sldMkLst>
          <pc:docMk/>
          <pc:sldMk cId="999034041" sldId="311"/>
        </pc:sldMkLst>
        <pc:spChg chg="del">
          <ac:chgData name="Carina Jahn | Lots*" userId="935b2ce8-b933-40bd-9996-0fcba74d0821" providerId="ADAL" clId="{BC3893D4-DA60-0744-AA34-232D18136B3E}" dt="2023-09-05T10:00:32.765" v="68" actId="478"/>
          <ac:spMkLst>
            <pc:docMk/>
            <pc:sldMk cId="999034041" sldId="311"/>
            <ac:spMk id="2" creationId="{436B09CA-1BE3-B811-7912-BE39DC81BACD}"/>
          </ac:spMkLst>
        </pc:spChg>
        <pc:spChg chg="add mod">
          <ac:chgData name="Carina Jahn | Lots*" userId="935b2ce8-b933-40bd-9996-0fcba74d0821" providerId="ADAL" clId="{BC3893D4-DA60-0744-AA34-232D18136B3E}" dt="2023-09-05T10:00:38.946" v="70"/>
          <ac:spMkLst>
            <pc:docMk/>
            <pc:sldMk cId="999034041" sldId="311"/>
            <ac:spMk id="4" creationId="{9E5FF839-C1E2-AAA8-8598-F7546CD45E12}"/>
          </ac:spMkLst>
        </pc:spChg>
      </pc:sldChg>
      <pc:sldMasterChg chg="modSp modSldLayout">
        <pc:chgData name="Carina Jahn | Lots*" userId="935b2ce8-b933-40bd-9996-0fcba74d0821" providerId="ADAL" clId="{BC3893D4-DA60-0744-AA34-232D18136B3E}" dt="2023-09-05T10:48:08.816" v="291" actId="1076"/>
        <pc:sldMasterMkLst>
          <pc:docMk/>
          <pc:sldMasterMk cId="0" sldId="2147483649"/>
        </pc:sldMasterMkLst>
        <pc:sldLayoutChg chg="addSp delSp modSp mod">
          <pc:chgData name="Carina Jahn | Lots*" userId="935b2ce8-b933-40bd-9996-0fcba74d0821" providerId="ADAL" clId="{BC3893D4-DA60-0744-AA34-232D18136B3E}" dt="2023-09-05T10:46:31.492" v="281"/>
          <pc:sldLayoutMkLst>
            <pc:docMk/>
            <pc:sldMasterMk cId="0" sldId="2147483649"/>
            <pc:sldLayoutMk cId="4068989990" sldId="2147483708"/>
          </pc:sldLayoutMkLst>
          <pc:grpChg chg="add mod">
            <ac:chgData name="Carina Jahn | Lots*" userId="935b2ce8-b933-40bd-9996-0fcba74d0821" providerId="ADAL" clId="{BC3893D4-DA60-0744-AA34-232D18136B3E}" dt="2023-09-05T10:46:31.492" v="281"/>
            <ac:grpSpMkLst>
              <pc:docMk/>
              <pc:sldMasterMk cId="0" sldId="2147483649"/>
              <pc:sldLayoutMk cId="4068989990" sldId="2147483708"/>
              <ac:grpSpMk id="3" creationId="{40BFED5F-9469-769C-52E8-AFF1A718B1AF}"/>
            </ac:grpSpMkLst>
          </pc:grpChg>
          <pc:picChg chg="mod">
            <ac:chgData name="Carina Jahn | Lots*" userId="935b2ce8-b933-40bd-9996-0fcba74d0821" providerId="ADAL" clId="{BC3893D4-DA60-0744-AA34-232D18136B3E}" dt="2023-09-05T10:46:31.492" v="281"/>
            <ac:picMkLst>
              <pc:docMk/>
              <pc:sldMasterMk cId="0" sldId="2147483649"/>
              <pc:sldLayoutMk cId="4068989990" sldId="2147483708"/>
              <ac:picMk id="4" creationId="{D19536F7-25AF-645D-40F3-5D8C421E20F2}"/>
            </ac:picMkLst>
          </pc:picChg>
          <pc:picChg chg="del">
            <ac:chgData name="Carina Jahn | Lots*" userId="935b2ce8-b933-40bd-9996-0fcba74d0821" providerId="ADAL" clId="{BC3893D4-DA60-0744-AA34-232D18136B3E}" dt="2023-09-05T10:46:15.840" v="276" actId="478"/>
            <ac:picMkLst>
              <pc:docMk/>
              <pc:sldMasterMk cId="0" sldId="2147483649"/>
              <pc:sldLayoutMk cId="4068989990" sldId="2147483708"/>
              <ac:picMk id="5" creationId="{3C53E6A0-7501-DA27-6E1E-67F126485F2B}"/>
            </ac:picMkLst>
          </pc:picChg>
          <pc:picChg chg="mod">
            <ac:chgData name="Carina Jahn | Lots*" userId="935b2ce8-b933-40bd-9996-0fcba74d0821" providerId="ADAL" clId="{BC3893D4-DA60-0744-AA34-232D18136B3E}" dt="2023-09-05T10:46:31.492" v="281"/>
            <ac:picMkLst>
              <pc:docMk/>
              <pc:sldMasterMk cId="0" sldId="2147483649"/>
              <pc:sldLayoutMk cId="4068989990" sldId="2147483708"/>
              <ac:picMk id="18" creationId="{F5039652-598B-343B-0440-567CC8F8C858}"/>
            </ac:picMkLst>
          </pc:picChg>
        </pc:sldLayoutChg>
        <pc:sldLayoutChg chg="modSp mod">
          <pc:chgData name="Carina Jahn | Lots*" userId="935b2ce8-b933-40bd-9996-0fcba74d0821" providerId="ADAL" clId="{BC3893D4-DA60-0744-AA34-232D18136B3E}" dt="2023-09-05T10:47:55.166" v="289" actId="1076"/>
          <pc:sldLayoutMkLst>
            <pc:docMk/>
            <pc:sldMasterMk cId="0" sldId="2147483649"/>
            <pc:sldLayoutMk cId="4089257592" sldId="2147483710"/>
          </pc:sldLayoutMkLst>
          <pc:spChg chg="mod">
            <ac:chgData name="Carina Jahn | Lots*" userId="935b2ce8-b933-40bd-9996-0fcba74d0821" providerId="ADAL" clId="{BC3893D4-DA60-0744-AA34-232D18136B3E}" dt="2023-09-05T10:47:35.483" v="284" actId="1076"/>
            <ac:spMkLst>
              <pc:docMk/>
              <pc:sldMasterMk cId="0" sldId="2147483649"/>
              <pc:sldLayoutMk cId="4089257592" sldId="2147483710"/>
              <ac:spMk id="6" creationId="{C21A29E8-A818-2ECA-D3D2-027B9A538CBD}"/>
            </ac:spMkLst>
          </pc:spChg>
          <pc:grpChg chg="mod">
            <ac:chgData name="Carina Jahn | Lots*" userId="935b2ce8-b933-40bd-9996-0fcba74d0821" providerId="ADAL" clId="{BC3893D4-DA60-0744-AA34-232D18136B3E}" dt="2023-09-05T10:47:55.166" v="289" actId="1076"/>
            <ac:grpSpMkLst>
              <pc:docMk/>
              <pc:sldMasterMk cId="0" sldId="2147483649"/>
              <pc:sldLayoutMk cId="4089257592" sldId="2147483710"/>
              <ac:grpSpMk id="14" creationId="{FD728FF7-E74E-BA00-2711-4363F2449D74}"/>
            </ac:grpSpMkLst>
          </pc:grpChg>
        </pc:sldLayoutChg>
        <pc:sldLayoutChg chg="modSp mod">
          <pc:chgData name="Carina Jahn | Lots*" userId="935b2ce8-b933-40bd-9996-0fcba74d0821" providerId="ADAL" clId="{BC3893D4-DA60-0744-AA34-232D18136B3E}" dt="2023-09-05T10:47:48.998" v="288" actId="1076"/>
          <pc:sldLayoutMkLst>
            <pc:docMk/>
            <pc:sldMasterMk cId="0" sldId="2147483649"/>
            <pc:sldLayoutMk cId="1209936944" sldId="2147483711"/>
          </pc:sldLayoutMkLst>
          <pc:spChg chg="mod">
            <ac:chgData name="Carina Jahn | Lots*" userId="935b2ce8-b933-40bd-9996-0fcba74d0821" providerId="ADAL" clId="{BC3893D4-DA60-0744-AA34-232D18136B3E}" dt="2023-09-05T10:47:48.998" v="288" actId="1076"/>
            <ac:spMkLst>
              <pc:docMk/>
              <pc:sldMasterMk cId="0" sldId="2147483649"/>
              <pc:sldLayoutMk cId="1209936944" sldId="2147483711"/>
              <ac:spMk id="6" creationId="{C21A29E8-A818-2ECA-D3D2-027B9A538CBD}"/>
            </ac:spMkLst>
          </pc:spChg>
          <pc:grpChg chg="mod">
            <ac:chgData name="Carina Jahn | Lots*" userId="935b2ce8-b933-40bd-9996-0fcba74d0821" providerId="ADAL" clId="{BC3893D4-DA60-0744-AA34-232D18136B3E}" dt="2023-09-05T10:47:48.998" v="288" actId="1076"/>
            <ac:grpSpMkLst>
              <pc:docMk/>
              <pc:sldMasterMk cId="0" sldId="2147483649"/>
              <pc:sldLayoutMk cId="1209936944" sldId="2147483711"/>
              <ac:grpSpMk id="14" creationId="{FD728FF7-E74E-BA00-2711-4363F2449D74}"/>
            </ac:grpSpMkLst>
          </pc:grpChg>
          <pc:grpChg chg="mod">
            <ac:chgData name="Carina Jahn | Lots*" userId="935b2ce8-b933-40bd-9996-0fcba74d0821" providerId="ADAL" clId="{BC3893D4-DA60-0744-AA34-232D18136B3E}" dt="2023-09-05T10:47:44.131" v="287" actId="1076"/>
            <ac:grpSpMkLst>
              <pc:docMk/>
              <pc:sldMasterMk cId="0" sldId="2147483649"/>
              <pc:sldLayoutMk cId="1209936944" sldId="2147483711"/>
              <ac:grpSpMk id="18" creationId="{F7F78FB0-7734-6F8F-6554-42B13F3137DF}"/>
            </ac:grpSpMkLst>
          </pc:grpChg>
        </pc:sldLayoutChg>
        <pc:sldLayoutChg chg="addSp delSp modSp mod">
          <pc:chgData name="Carina Jahn | Lots*" userId="935b2ce8-b933-40bd-9996-0fcba74d0821" providerId="ADAL" clId="{BC3893D4-DA60-0744-AA34-232D18136B3E}" dt="2023-09-05T10:46:29.126" v="280"/>
          <pc:sldLayoutMkLst>
            <pc:docMk/>
            <pc:sldMasterMk cId="0" sldId="2147483649"/>
            <pc:sldLayoutMk cId="2125194133" sldId="2147483712"/>
          </pc:sldLayoutMkLst>
          <pc:grpChg chg="add del mod">
            <ac:chgData name="Carina Jahn | Lots*" userId="935b2ce8-b933-40bd-9996-0fcba74d0821" providerId="ADAL" clId="{BC3893D4-DA60-0744-AA34-232D18136B3E}" dt="2023-09-05T10:29:00.209" v="268" actId="478"/>
            <ac:grpSpMkLst>
              <pc:docMk/>
              <pc:sldMasterMk cId="0" sldId="2147483649"/>
              <pc:sldLayoutMk cId="2125194133" sldId="2147483712"/>
              <ac:grpSpMk id="3" creationId="{E20207F2-DCE9-2AFD-30F4-1E4B355FF6EA}"/>
            </ac:grpSpMkLst>
          </pc:grpChg>
          <pc:grpChg chg="add del mod">
            <ac:chgData name="Carina Jahn | Lots*" userId="935b2ce8-b933-40bd-9996-0fcba74d0821" providerId="ADAL" clId="{BC3893D4-DA60-0744-AA34-232D18136B3E}" dt="2023-09-05T10:46:25.894" v="278" actId="21"/>
            <ac:grpSpMkLst>
              <pc:docMk/>
              <pc:sldMasterMk cId="0" sldId="2147483649"/>
              <pc:sldLayoutMk cId="2125194133" sldId="2147483712"/>
              <ac:grpSpMk id="9" creationId="{EE9842C9-870A-3D95-378D-E1A65F9B8836}"/>
            </ac:grpSpMkLst>
          </pc:grpChg>
          <pc:grpChg chg="mod">
            <ac:chgData name="Carina Jahn | Lots*" userId="935b2ce8-b933-40bd-9996-0fcba74d0821" providerId="ADAL" clId="{BC3893D4-DA60-0744-AA34-232D18136B3E}" dt="2023-09-05T10:28:29.131" v="266" actId="1076"/>
            <ac:grpSpMkLst>
              <pc:docMk/>
              <pc:sldMasterMk cId="0" sldId="2147483649"/>
              <pc:sldLayoutMk cId="2125194133" sldId="2147483712"/>
              <ac:grpSpMk id="11" creationId="{CBBA7C53-A171-3C8D-3D07-D8851EF5EFC3}"/>
            </ac:grpSpMkLst>
          </pc:grpChg>
          <pc:grpChg chg="add mod">
            <ac:chgData name="Carina Jahn | Lots*" userId="935b2ce8-b933-40bd-9996-0fcba74d0821" providerId="ADAL" clId="{BC3893D4-DA60-0744-AA34-232D18136B3E}" dt="2023-09-05T10:46:29.126" v="280"/>
            <ac:grpSpMkLst>
              <pc:docMk/>
              <pc:sldMasterMk cId="0" sldId="2147483649"/>
              <pc:sldLayoutMk cId="2125194133" sldId="2147483712"/>
              <ac:grpSpMk id="18" creationId="{A23ABBAF-B447-A8CF-B573-E91D0BD2B33D}"/>
            </ac:grpSpMkLst>
          </pc:grpChg>
          <pc:picChg chg="mod">
            <ac:chgData name="Carina Jahn | Lots*" userId="935b2ce8-b933-40bd-9996-0fcba74d0821" providerId="ADAL" clId="{BC3893D4-DA60-0744-AA34-232D18136B3E}" dt="2023-09-05T10:28:44.602" v="267"/>
            <ac:picMkLst>
              <pc:docMk/>
              <pc:sldMasterMk cId="0" sldId="2147483649"/>
              <pc:sldLayoutMk cId="2125194133" sldId="2147483712"/>
              <ac:picMk id="4" creationId="{21D5C9CC-CD88-A99E-09BB-B0A06638044B}"/>
            </ac:picMkLst>
          </pc:picChg>
          <pc:picChg chg="del">
            <ac:chgData name="Carina Jahn | Lots*" userId="935b2ce8-b933-40bd-9996-0fcba74d0821" providerId="ADAL" clId="{BC3893D4-DA60-0744-AA34-232D18136B3E}" dt="2023-09-05T10:46:27.885" v="279" actId="478"/>
            <ac:picMkLst>
              <pc:docMk/>
              <pc:sldMasterMk cId="0" sldId="2147483649"/>
              <pc:sldLayoutMk cId="2125194133" sldId="2147483712"/>
              <ac:picMk id="5" creationId="{3C53E6A0-7501-DA27-6E1E-67F126485F2B}"/>
            </ac:picMkLst>
          </pc:picChg>
          <pc:picChg chg="mod">
            <ac:chgData name="Carina Jahn | Lots*" userId="935b2ce8-b933-40bd-9996-0fcba74d0821" providerId="ADAL" clId="{BC3893D4-DA60-0744-AA34-232D18136B3E}" dt="2023-09-05T10:28:44.602" v="267"/>
            <ac:picMkLst>
              <pc:docMk/>
              <pc:sldMasterMk cId="0" sldId="2147483649"/>
              <pc:sldLayoutMk cId="2125194133" sldId="2147483712"/>
              <ac:picMk id="6" creationId="{065109A9-8004-AEE4-7DD0-8699D9FF9367}"/>
            </ac:picMkLst>
          </pc:picChg>
          <pc:picChg chg="mod">
            <ac:chgData name="Carina Jahn | Lots*" userId="935b2ce8-b933-40bd-9996-0fcba74d0821" providerId="ADAL" clId="{BC3893D4-DA60-0744-AA34-232D18136B3E}" dt="2023-09-05T10:46:24.368" v="277"/>
            <ac:picMkLst>
              <pc:docMk/>
              <pc:sldMasterMk cId="0" sldId="2147483649"/>
              <pc:sldLayoutMk cId="2125194133" sldId="2147483712"/>
              <ac:picMk id="16" creationId="{8C1ECA70-A0D6-9815-E8D1-2C5101266478}"/>
            </ac:picMkLst>
          </pc:picChg>
          <pc:picChg chg="mod">
            <ac:chgData name="Carina Jahn | Lots*" userId="935b2ce8-b933-40bd-9996-0fcba74d0821" providerId="ADAL" clId="{BC3893D4-DA60-0744-AA34-232D18136B3E}" dt="2023-09-05T10:46:24.368" v="277"/>
            <ac:picMkLst>
              <pc:docMk/>
              <pc:sldMasterMk cId="0" sldId="2147483649"/>
              <pc:sldLayoutMk cId="2125194133" sldId="2147483712"/>
              <ac:picMk id="17" creationId="{1BB9D52B-47F5-9464-9EAB-622F32419925}"/>
            </ac:picMkLst>
          </pc:picChg>
          <pc:picChg chg="mod">
            <ac:chgData name="Carina Jahn | Lots*" userId="935b2ce8-b933-40bd-9996-0fcba74d0821" providerId="ADAL" clId="{BC3893D4-DA60-0744-AA34-232D18136B3E}" dt="2023-09-05T10:46:29.126" v="280"/>
            <ac:picMkLst>
              <pc:docMk/>
              <pc:sldMasterMk cId="0" sldId="2147483649"/>
              <pc:sldLayoutMk cId="2125194133" sldId="2147483712"/>
              <ac:picMk id="19" creationId="{0EBDD8D1-3770-4A49-A73A-6A84F2FC16CA}"/>
            </ac:picMkLst>
          </pc:picChg>
          <pc:picChg chg="mod">
            <ac:chgData name="Carina Jahn | Lots*" userId="935b2ce8-b933-40bd-9996-0fcba74d0821" providerId="ADAL" clId="{BC3893D4-DA60-0744-AA34-232D18136B3E}" dt="2023-09-05T10:46:29.126" v="280"/>
            <ac:picMkLst>
              <pc:docMk/>
              <pc:sldMasterMk cId="0" sldId="2147483649"/>
              <pc:sldLayoutMk cId="2125194133" sldId="2147483712"/>
              <ac:picMk id="20" creationId="{D3631343-1EF7-F2BD-F171-E758753861AF}"/>
            </ac:picMkLst>
          </pc:picChg>
        </pc:sldLayoutChg>
        <pc:sldLayoutChg chg="modSp mod">
          <pc:chgData name="Carina Jahn | Lots*" userId="935b2ce8-b933-40bd-9996-0fcba74d0821" providerId="ADAL" clId="{BC3893D4-DA60-0744-AA34-232D18136B3E}" dt="2023-09-05T10:48:08.816" v="291" actId="1076"/>
          <pc:sldLayoutMkLst>
            <pc:docMk/>
            <pc:sldMasterMk cId="0" sldId="2147483649"/>
            <pc:sldLayoutMk cId="2614865745" sldId="2147483713"/>
          </pc:sldLayoutMkLst>
          <pc:spChg chg="mod">
            <ac:chgData name="Carina Jahn | Lots*" userId="935b2ce8-b933-40bd-9996-0fcba74d0821" providerId="ADAL" clId="{BC3893D4-DA60-0744-AA34-232D18136B3E}" dt="2023-09-05T10:48:04.250" v="290" actId="1076"/>
            <ac:spMkLst>
              <pc:docMk/>
              <pc:sldMasterMk cId="0" sldId="2147483649"/>
              <pc:sldLayoutMk cId="2614865745" sldId="2147483713"/>
              <ac:spMk id="6" creationId="{C21A29E8-A818-2ECA-D3D2-027B9A538CBD}"/>
            </ac:spMkLst>
          </pc:spChg>
          <pc:grpChg chg="mod">
            <ac:chgData name="Carina Jahn | Lots*" userId="935b2ce8-b933-40bd-9996-0fcba74d0821" providerId="ADAL" clId="{BC3893D4-DA60-0744-AA34-232D18136B3E}" dt="2023-09-05T10:48:08.816" v="291" actId="1076"/>
            <ac:grpSpMkLst>
              <pc:docMk/>
              <pc:sldMasterMk cId="0" sldId="2147483649"/>
              <pc:sldLayoutMk cId="2614865745" sldId="2147483713"/>
              <ac:grpSpMk id="14" creationId="{FD728FF7-E74E-BA00-2711-4363F2449D74}"/>
            </ac:grpSpMkLst>
          </pc:grpChg>
        </pc:sldLayoutChg>
        <pc:sldLayoutChg chg="modSp mod">
          <pc:chgData name="Carina Jahn | Lots*" userId="935b2ce8-b933-40bd-9996-0fcba74d0821" providerId="ADAL" clId="{BC3893D4-DA60-0744-AA34-232D18136B3E}" dt="2023-09-05T09:46:26.631" v="4" actId="1076"/>
          <pc:sldLayoutMkLst>
            <pc:docMk/>
            <pc:sldMasterMk cId="0" sldId="2147483649"/>
            <pc:sldLayoutMk cId="4089257592" sldId="2147483722"/>
          </pc:sldLayoutMkLst>
          <pc:spChg chg="mod">
            <ac:chgData name="Carina Jahn | Lots*" userId="935b2ce8-b933-40bd-9996-0fcba74d0821" providerId="ADAL" clId="{BC3893D4-DA60-0744-AA34-232D18136B3E}" dt="2023-09-05T09:46:22.449" v="3" actId="1076"/>
            <ac:spMkLst>
              <pc:docMk/>
              <pc:sldMasterMk cId="0" sldId="2147483649"/>
              <pc:sldLayoutMk cId="4089257592" sldId="2147483722"/>
              <ac:spMk id="6" creationId="{C21A29E8-A818-2ECA-D3D2-027B9A538CBD}"/>
            </ac:spMkLst>
          </pc:spChg>
          <pc:grpChg chg="mod">
            <ac:chgData name="Carina Jahn | Lots*" userId="935b2ce8-b933-40bd-9996-0fcba74d0821" providerId="ADAL" clId="{BC3893D4-DA60-0744-AA34-232D18136B3E}" dt="2023-09-05T09:46:26.631" v="4" actId="1076"/>
            <ac:grpSpMkLst>
              <pc:docMk/>
              <pc:sldMasterMk cId="0" sldId="2147483649"/>
              <pc:sldLayoutMk cId="4089257592" sldId="2147483722"/>
              <ac:grpSpMk id="14" creationId="{FD728FF7-E74E-BA00-2711-4363F2449D74}"/>
            </ac:grpSpMkLst>
          </pc:grpChg>
        </pc:sldLayoutChg>
        <pc:sldLayoutChg chg="modSp mod">
          <pc:chgData name="Carina Jahn | Lots*" userId="935b2ce8-b933-40bd-9996-0fcba74d0821" providerId="ADAL" clId="{BC3893D4-DA60-0744-AA34-232D18136B3E}" dt="2023-09-05T09:46:47.767" v="6" actId="1076"/>
          <pc:sldLayoutMkLst>
            <pc:docMk/>
            <pc:sldMasterMk cId="0" sldId="2147483649"/>
            <pc:sldLayoutMk cId="2614865745" sldId="2147483723"/>
          </pc:sldLayoutMkLst>
          <pc:spChg chg="mod">
            <ac:chgData name="Carina Jahn | Lots*" userId="935b2ce8-b933-40bd-9996-0fcba74d0821" providerId="ADAL" clId="{BC3893D4-DA60-0744-AA34-232D18136B3E}" dt="2023-09-05T09:46:47.767" v="6" actId="1076"/>
            <ac:spMkLst>
              <pc:docMk/>
              <pc:sldMasterMk cId="0" sldId="2147483649"/>
              <pc:sldLayoutMk cId="2614865745" sldId="2147483723"/>
              <ac:spMk id="6" creationId="{C21A29E8-A818-2ECA-D3D2-027B9A538CBD}"/>
            </ac:spMkLst>
          </pc:spChg>
          <pc:grpChg chg="mod">
            <ac:chgData name="Carina Jahn | Lots*" userId="935b2ce8-b933-40bd-9996-0fcba74d0821" providerId="ADAL" clId="{BC3893D4-DA60-0744-AA34-232D18136B3E}" dt="2023-09-05T09:46:47.767" v="6" actId="1076"/>
            <ac:grpSpMkLst>
              <pc:docMk/>
              <pc:sldMasterMk cId="0" sldId="2147483649"/>
              <pc:sldLayoutMk cId="2614865745" sldId="2147483723"/>
              <ac:grpSpMk id="14" creationId="{FD728FF7-E74E-BA00-2711-4363F2449D74}"/>
            </ac:grpSpMkLst>
          </pc:grpChg>
        </pc:sldLayoutChg>
      </pc:sldMaster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4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4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3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4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4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4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Rectangle 1026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3"/>
            <a:ext cx="3075631" cy="51230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5483" tIns="47742" rIns="95483" bIns="47742" numCol="1" anchor="t" anchorCtr="0" compatLnSpc="1">
            <a:prstTxWarp prst="textNoShape">
              <a:avLst/>
            </a:prstTxWarp>
          </a:bodyPr>
          <a:lstStyle>
            <a:lvl1pPr>
              <a:defRPr sz="1300"/>
            </a:lvl1pPr>
          </a:lstStyle>
          <a:p>
            <a:endParaRPr lang="de-DE"/>
          </a:p>
        </p:txBody>
      </p:sp>
      <p:sp>
        <p:nvSpPr>
          <p:cNvPr id="21507" name="Rectangle 1027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4023671" y="3"/>
            <a:ext cx="3075631" cy="51230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5483" tIns="47742" rIns="95483" bIns="47742" numCol="1" anchor="t" anchorCtr="0" compatLnSpc="1">
            <a:prstTxWarp prst="textNoShape">
              <a:avLst/>
            </a:prstTxWarp>
          </a:bodyPr>
          <a:lstStyle>
            <a:lvl1pPr algn="r">
              <a:defRPr sz="1300"/>
            </a:lvl1pPr>
          </a:lstStyle>
          <a:p>
            <a:endParaRPr lang="de-DE"/>
          </a:p>
        </p:txBody>
      </p:sp>
      <p:sp>
        <p:nvSpPr>
          <p:cNvPr id="21508" name="Rectangle 1028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1" y="9722312"/>
            <a:ext cx="3075631" cy="51230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5483" tIns="47742" rIns="95483" bIns="47742" numCol="1" anchor="b" anchorCtr="0" compatLnSpc="1">
            <a:prstTxWarp prst="textNoShape">
              <a:avLst/>
            </a:prstTxWarp>
          </a:bodyPr>
          <a:lstStyle>
            <a:lvl1pPr>
              <a:defRPr sz="1300"/>
            </a:lvl1pPr>
          </a:lstStyle>
          <a:p>
            <a:endParaRPr lang="de-DE"/>
          </a:p>
        </p:txBody>
      </p:sp>
      <p:sp>
        <p:nvSpPr>
          <p:cNvPr id="21509" name="Rectangle 1029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4023671" y="9722312"/>
            <a:ext cx="3075631" cy="51230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5483" tIns="47742" rIns="95483" bIns="47742" numCol="1" anchor="b" anchorCtr="0" compatLnSpc="1">
            <a:prstTxWarp prst="textNoShape">
              <a:avLst/>
            </a:prstTxWarp>
          </a:bodyPr>
          <a:lstStyle>
            <a:lvl1pPr algn="r">
              <a:defRPr sz="1300"/>
            </a:lvl1pPr>
          </a:lstStyle>
          <a:p>
            <a:fld id="{D20AD990-D1F7-4E2D-A485-9F93F0545DD3}" type="slidenum">
              <a:rPr lang="de-DE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0233975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3"/>
            <a:ext cx="3075631" cy="51230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5483" tIns="47742" rIns="95483" bIns="47742" numCol="1" anchor="t" anchorCtr="0" compatLnSpc="1">
            <a:prstTxWarp prst="textNoShape">
              <a:avLst/>
            </a:prstTxWarp>
          </a:bodyPr>
          <a:lstStyle>
            <a:lvl1pPr>
              <a:defRPr sz="1300"/>
            </a:lvl1pPr>
          </a:lstStyle>
          <a:p>
            <a:endParaRPr lang="de-DE"/>
          </a:p>
        </p:txBody>
      </p:sp>
      <p:sp>
        <p:nvSpPr>
          <p:cNvPr id="8195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4023671" y="3"/>
            <a:ext cx="3075631" cy="51230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5483" tIns="47742" rIns="95483" bIns="47742" numCol="1" anchor="t" anchorCtr="0" compatLnSpc="1">
            <a:prstTxWarp prst="textNoShape">
              <a:avLst/>
            </a:prstTxWarp>
          </a:bodyPr>
          <a:lstStyle>
            <a:lvl1pPr algn="r">
              <a:defRPr sz="1300"/>
            </a:lvl1pPr>
          </a:lstStyle>
          <a:p>
            <a:endParaRPr lang="de-DE"/>
          </a:p>
        </p:txBody>
      </p:sp>
      <p:sp>
        <p:nvSpPr>
          <p:cNvPr id="8196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139700" y="768350"/>
            <a:ext cx="6819900" cy="3836988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8197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946348" y="4861380"/>
            <a:ext cx="5206604" cy="460418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5483" tIns="47742" rIns="95483" bIns="47742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/>
              <a:t>Klicken Sie, um die Formate des Vorlagentextes zu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8198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1" y="9722312"/>
            <a:ext cx="3075631" cy="51230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5483" tIns="47742" rIns="95483" bIns="47742" numCol="1" anchor="b" anchorCtr="0" compatLnSpc="1">
            <a:prstTxWarp prst="textNoShape">
              <a:avLst/>
            </a:prstTxWarp>
          </a:bodyPr>
          <a:lstStyle>
            <a:lvl1pPr>
              <a:defRPr sz="1300"/>
            </a:lvl1pPr>
          </a:lstStyle>
          <a:p>
            <a:endParaRPr lang="de-DE"/>
          </a:p>
        </p:txBody>
      </p:sp>
      <p:sp>
        <p:nvSpPr>
          <p:cNvPr id="8199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4023671" y="9722312"/>
            <a:ext cx="3075631" cy="51230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5483" tIns="47742" rIns="95483" bIns="47742" numCol="1" anchor="b" anchorCtr="0" compatLnSpc="1">
            <a:prstTxWarp prst="textNoShape">
              <a:avLst/>
            </a:prstTxWarp>
          </a:bodyPr>
          <a:lstStyle>
            <a:lvl1pPr algn="r">
              <a:defRPr sz="1300"/>
            </a:lvl1pPr>
          </a:lstStyle>
          <a:p>
            <a:fld id="{44C50268-CD09-45F4-BF1F-43F2DFDD2307}" type="slidenum">
              <a:rPr lang="de-DE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94292084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+mn-cs"/>
      </a:defRPr>
    </a:lvl1pPr>
    <a:lvl2pPr marL="4572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+mn-cs"/>
      </a:defRPr>
    </a:lvl2pPr>
    <a:lvl3pPr marL="9144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+mn-cs"/>
      </a:defRPr>
    </a:lvl3pPr>
    <a:lvl4pPr marL="13716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+mn-cs"/>
      </a:defRPr>
    </a:lvl4pPr>
    <a:lvl5pPr marL="18288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C50268-CD09-45F4-BF1F-43F2DFDD2307}" type="slidenum">
              <a:rPr lang="de-DE" smtClean="0"/>
              <a:pPr/>
              <a:t>1</a:t>
            </a:fld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8458056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svg"/><Relationship Id="rId3" Type="http://schemas.openxmlformats.org/officeDocument/2006/relationships/image" Target="../media/image4.png"/><Relationship Id="rId7" Type="http://schemas.openxmlformats.org/officeDocument/2006/relationships/image" Target="../media/image1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8.svg"/><Relationship Id="rId5" Type="http://schemas.openxmlformats.org/officeDocument/2006/relationships/image" Target="../media/image5.png"/><Relationship Id="rId4" Type="http://schemas.openxmlformats.org/officeDocument/2006/relationships/image" Target="../media/image6.svg"/><Relationship Id="rId9" Type="http://schemas.openxmlformats.org/officeDocument/2006/relationships/image" Target="../media/image2.emf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7" Type="http://schemas.openxmlformats.org/officeDocument/2006/relationships/image" Target="../media/image21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12.png"/><Relationship Id="rId5" Type="http://schemas.openxmlformats.org/officeDocument/2006/relationships/image" Target="../media/image8.svg"/><Relationship Id="rId4" Type="http://schemas.openxmlformats.org/officeDocument/2006/relationships/image" Target="../media/image5.png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hyperlink" Target="http://www.ostwestachse.koeln/" TargetMode="External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14.png"/><Relationship Id="rId4" Type="http://schemas.openxmlformats.org/officeDocument/2006/relationships/hyperlink" Target="mailto:ostwestachse@kvb.koeln" TargetMode="Externa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26.svg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image" Target="../media/image6.svg"/><Relationship Id="rId7" Type="http://schemas.openxmlformats.org/officeDocument/2006/relationships/image" Target="../media/image2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.png"/><Relationship Id="rId5" Type="http://schemas.openxmlformats.org/officeDocument/2006/relationships/image" Target="../media/image8.svg"/><Relationship Id="rId4" Type="http://schemas.openxmlformats.org/officeDocument/2006/relationships/image" Target="../media/image5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13" Type="http://schemas.openxmlformats.org/officeDocument/2006/relationships/image" Target="../media/image15.svg"/><Relationship Id="rId3" Type="http://schemas.openxmlformats.org/officeDocument/2006/relationships/image" Target="../media/image8.svg"/><Relationship Id="rId7" Type="http://schemas.openxmlformats.org/officeDocument/2006/relationships/image" Target="../media/image17.svg"/><Relationship Id="rId12" Type="http://schemas.openxmlformats.org/officeDocument/2006/relationships/image" Target="../media/image19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10.png"/><Relationship Id="rId11" Type="http://schemas.openxmlformats.org/officeDocument/2006/relationships/image" Target="../media/image30.svg"/><Relationship Id="rId5" Type="http://schemas.openxmlformats.org/officeDocument/2006/relationships/image" Target="../media/image13.svg"/><Relationship Id="rId15" Type="http://schemas.openxmlformats.org/officeDocument/2006/relationships/image" Target="../media/image11.svg"/><Relationship Id="rId10" Type="http://schemas.openxmlformats.org/officeDocument/2006/relationships/image" Target="../media/image18.png"/><Relationship Id="rId4" Type="http://schemas.openxmlformats.org/officeDocument/2006/relationships/image" Target="../media/image7.png"/><Relationship Id="rId9" Type="http://schemas.openxmlformats.org/officeDocument/2006/relationships/image" Target="../media/image28.svg"/><Relationship Id="rId14" Type="http://schemas.openxmlformats.org/officeDocument/2006/relationships/image" Target="../media/image6.png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2.emf"/><Relationship Id="rId5" Type="http://schemas.openxmlformats.org/officeDocument/2006/relationships/image" Target="../media/image20.svg"/><Relationship Id="rId4" Type="http://schemas.openxmlformats.org/officeDocument/2006/relationships/image" Target="../media/image1.png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1.emf"/><Relationship Id="rId5" Type="http://schemas.openxmlformats.org/officeDocument/2006/relationships/image" Target="../media/image20.emf"/><Relationship Id="rId4" Type="http://schemas.openxmlformats.org/officeDocument/2006/relationships/oleObject" Target="../embeddings/oleObject2.bin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22.emf"/><Relationship Id="rId5" Type="http://schemas.openxmlformats.org/officeDocument/2006/relationships/image" Target="../media/image20.emf"/><Relationship Id="rId4" Type="http://schemas.openxmlformats.org/officeDocument/2006/relationships/oleObject" Target="../embeddings/oleObject3.bin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22.emf"/><Relationship Id="rId5" Type="http://schemas.openxmlformats.org/officeDocument/2006/relationships/image" Target="../media/image20.emf"/><Relationship Id="rId4" Type="http://schemas.openxmlformats.org/officeDocument/2006/relationships/oleObject" Target="../embeddings/oleObject4.bin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22.emf"/><Relationship Id="rId5" Type="http://schemas.openxmlformats.org/officeDocument/2006/relationships/image" Target="../media/image23.emf"/><Relationship Id="rId4" Type="http://schemas.openxmlformats.org/officeDocument/2006/relationships/oleObject" Target="../embeddings/oleObject5.bin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emf"/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6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22.emf"/><Relationship Id="rId5" Type="http://schemas.openxmlformats.org/officeDocument/2006/relationships/image" Target="../media/image20.emf"/><Relationship Id="rId4" Type="http://schemas.openxmlformats.org/officeDocument/2006/relationships/oleObject" Target="../embeddings/oleObject6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7" Type="http://schemas.openxmlformats.org/officeDocument/2006/relationships/image" Target="../media/image11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2.emf"/><Relationship Id="rId4" Type="http://schemas.openxmlformats.org/officeDocument/2006/relationships/image" Target="../media/image9.svg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emf"/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emf"/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7" Type="http://schemas.openxmlformats.org/officeDocument/2006/relationships/image" Target="../media/image13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7.png"/><Relationship Id="rId5" Type="http://schemas.openxmlformats.org/officeDocument/2006/relationships/image" Target="../media/image2.emf"/><Relationship Id="rId4" Type="http://schemas.openxmlformats.org/officeDocument/2006/relationships/image" Target="../media/image2.sv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7" Type="http://schemas.openxmlformats.org/officeDocument/2006/relationships/image" Target="../media/image15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8.png"/><Relationship Id="rId5" Type="http://schemas.openxmlformats.org/officeDocument/2006/relationships/image" Target="../media/image2.emf"/><Relationship Id="rId4" Type="http://schemas.openxmlformats.org/officeDocument/2006/relationships/image" Target="../media/image9.sv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2.emf"/><Relationship Id="rId5" Type="http://schemas.openxmlformats.org/officeDocument/2006/relationships/image" Target="../media/image2.svg"/><Relationship Id="rId4" Type="http://schemas.openxmlformats.org/officeDocument/2006/relationships/image" Target="../media/image1.pn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2.emf"/><Relationship Id="rId4" Type="http://schemas.openxmlformats.org/officeDocument/2006/relationships/image" Target="../media/image2.svg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hyperlink" Target="mailto:ostwestachse@kvb.koeln" TargetMode="External"/><Relationship Id="rId7" Type="http://schemas.openxmlformats.org/officeDocument/2006/relationships/image" Target="../media/image2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.png"/><Relationship Id="rId5" Type="http://schemas.openxmlformats.org/officeDocument/2006/relationships/image" Target="../media/image17.svg"/><Relationship Id="rId4" Type="http://schemas.openxmlformats.org/officeDocument/2006/relationships/image" Target="../media/image10.png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8" name="Gruppieren 27">
            <a:extLst>
              <a:ext uri="{FF2B5EF4-FFF2-40B4-BE49-F238E27FC236}">
                <a16:creationId xmlns:a16="http://schemas.microsoft.com/office/drawing/2014/main" id="{4016C779-7323-4660-9FC5-0DD0FF1F36A5}"/>
              </a:ext>
            </a:extLst>
          </p:cNvPr>
          <p:cNvGrpSpPr/>
          <p:nvPr userDrawn="1"/>
        </p:nvGrpSpPr>
        <p:grpSpPr>
          <a:xfrm>
            <a:off x="-6019906" y="-6303101"/>
            <a:ext cx="18211906" cy="13746195"/>
            <a:chOff x="-6019906" y="-6303101"/>
            <a:chExt cx="18211906" cy="13746195"/>
          </a:xfrm>
        </p:grpSpPr>
        <p:pic>
          <p:nvPicPr>
            <p:cNvPr id="15" name="Grafik 14">
              <a:extLst>
                <a:ext uri="{FF2B5EF4-FFF2-40B4-BE49-F238E27FC236}">
                  <a16:creationId xmlns:a16="http://schemas.microsoft.com/office/drawing/2014/main" id="{5493991C-CF3F-25DA-562A-59CF985AC1FB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alphaModFix amt="6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4373" t="13251" r="33299" b="44717"/>
            <a:stretch/>
          </p:blipFill>
          <p:spPr>
            <a:xfrm>
              <a:off x="0" y="0"/>
              <a:ext cx="12192000" cy="6858000"/>
            </a:xfrm>
            <a:prstGeom prst="rect">
              <a:avLst/>
            </a:prstGeom>
          </p:spPr>
        </p:pic>
        <p:sp>
          <p:nvSpPr>
            <p:cNvPr id="27" name="Rechteck 26">
              <a:extLst>
                <a:ext uri="{FF2B5EF4-FFF2-40B4-BE49-F238E27FC236}">
                  <a16:creationId xmlns:a16="http://schemas.microsoft.com/office/drawing/2014/main" id="{22CCECD1-54C4-2379-AD46-FF33F1BABE3C}"/>
                </a:ext>
              </a:extLst>
            </p:cNvPr>
            <p:cNvSpPr/>
            <p:nvPr userDrawn="1"/>
          </p:nvSpPr>
          <p:spPr>
            <a:xfrm rot="2088470">
              <a:off x="-6019906" y="-6303101"/>
              <a:ext cx="9739721" cy="13746195"/>
            </a:xfrm>
            <a:prstGeom prst="rect">
              <a:avLst/>
            </a:prstGeom>
            <a:solidFill>
              <a:srgbClr val="A8D6EE">
                <a:alpha val="37367"/>
              </a:srgbClr>
            </a:solidFill>
            <a:ln>
              <a:noFill/>
            </a:ln>
            <a:effectLst>
              <a:glow rad="1734569">
                <a:srgbClr val="A8D6EE">
                  <a:alpha val="10000"/>
                </a:srgbClr>
              </a:glow>
              <a:softEdge rad="1270000"/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sp>
        <p:nvSpPr>
          <p:cNvPr id="12" name="Textfeld 11">
            <a:extLst>
              <a:ext uri="{FF2B5EF4-FFF2-40B4-BE49-F238E27FC236}">
                <a16:creationId xmlns:a16="http://schemas.microsoft.com/office/drawing/2014/main" id="{11489517-DBB5-6BB7-86C6-D72889EFC20E}"/>
              </a:ext>
            </a:extLst>
          </p:cNvPr>
          <p:cNvSpPr txBox="1"/>
          <p:nvPr userDrawn="1"/>
        </p:nvSpPr>
        <p:spPr>
          <a:xfrm>
            <a:off x="825503" y="6339798"/>
            <a:ext cx="8191781" cy="307777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algn="l"/>
            <a:endParaRPr lang="de-DE" sz="1000" b="0" i="0">
              <a:solidFill>
                <a:srgbClr val="FF0000"/>
              </a:solidFill>
              <a:latin typeface="Approach Koeln SemiBold" pitchFamily="2" charset="0"/>
            </a:endParaRPr>
          </a:p>
          <a:p>
            <a:pPr algn="l"/>
            <a:r>
              <a:rPr lang="de-DE" sz="1000" b="0" i="0">
                <a:solidFill>
                  <a:srgbClr val="FF0000"/>
                </a:solidFill>
                <a:latin typeface="Approach Koeln SemiBold" pitchFamily="2" charset="0"/>
              </a:rPr>
              <a:t>Kölner Verkehrs-Betriebe AG</a:t>
            </a:r>
            <a:endParaRPr lang="de-DE" sz="1000" b="0" i="0">
              <a:solidFill>
                <a:srgbClr val="FF0000"/>
              </a:solidFill>
              <a:latin typeface="Approach Koeln" pitchFamily="2" charset="0"/>
            </a:endParaRPr>
          </a:p>
        </p:txBody>
      </p:sp>
      <p:sp>
        <p:nvSpPr>
          <p:cNvPr id="16" name="Freihandform 15">
            <a:extLst>
              <a:ext uri="{FF2B5EF4-FFF2-40B4-BE49-F238E27FC236}">
                <a16:creationId xmlns:a16="http://schemas.microsoft.com/office/drawing/2014/main" id="{C67F6280-CD18-265F-1B70-ECC6AEAFD75F}"/>
              </a:ext>
            </a:extLst>
          </p:cNvPr>
          <p:cNvSpPr/>
          <p:nvPr userDrawn="1"/>
        </p:nvSpPr>
        <p:spPr>
          <a:xfrm>
            <a:off x="-75715" y="3689568"/>
            <a:ext cx="6850428" cy="809581"/>
          </a:xfrm>
          <a:custGeom>
            <a:avLst/>
            <a:gdLst>
              <a:gd name="connsiteX0" fmla="*/ 0 w 6850428"/>
              <a:gd name="connsiteY0" fmla="*/ 0 h 809581"/>
              <a:gd name="connsiteX1" fmla="*/ 448464 w 6850428"/>
              <a:gd name="connsiteY1" fmla="*/ 99011 h 809581"/>
              <a:gd name="connsiteX2" fmla="*/ 1403633 w 6850428"/>
              <a:gd name="connsiteY2" fmla="*/ 122308 h 809581"/>
              <a:gd name="connsiteX3" fmla="*/ 2434518 w 6850428"/>
              <a:gd name="connsiteY3" fmla="*/ 104835 h 809581"/>
              <a:gd name="connsiteX4" fmla="*/ 3034411 w 6850428"/>
              <a:gd name="connsiteY4" fmla="*/ 128132 h 809581"/>
              <a:gd name="connsiteX5" fmla="*/ 3855623 w 6850428"/>
              <a:gd name="connsiteY5" fmla="*/ 262089 h 809581"/>
              <a:gd name="connsiteX6" fmla="*/ 4915628 w 6850428"/>
              <a:gd name="connsiteY6" fmla="*/ 576596 h 809581"/>
              <a:gd name="connsiteX7" fmla="*/ 5538818 w 6850428"/>
              <a:gd name="connsiteY7" fmla="*/ 751322 h 809581"/>
              <a:gd name="connsiteX8" fmla="*/ 6097942 w 6850428"/>
              <a:gd name="connsiteY8" fmla="*/ 809564 h 809581"/>
              <a:gd name="connsiteX9" fmla="*/ 6756077 w 6850428"/>
              <a:gd name="connsiteY9" fmla="*/ 757146 h 809581"/>
              <a:gd name="connsiteX10" fmla="*/ 6831791 w 6850428"/>
              <a:gd name="connsiteY10" fmla="*/ 722201 h 8095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6850428" h="809581">
                <a:moveTo>
                  <a:pt x="0" y="0"/>
                </a:moveTo>
                <a:cubicBezTo>
                  <a:pt x="107262" y="39313"/>
                  <a:pt x="214525" y="78626"/>
                  <a:pt x="448464" y="99011"/>
                </a:cubicBezTo>
                <a:cubicBezTo>
                  <a:pt x="682403" y="119396"/>
                  <a:pt x="1072624" y="121337"/>
                  <a:pt x="1403633" y="122308"/>
                </a:cubicBezTo>
                <a:cubicBezTo>
                  <a:pt x="1734642" y="123279"/>
                  <a:pt x="2162722" y="103864"/>
                  <a:pt x="2434518" y="104835"/>
                </a:cubicBezTo>
                <a:cubicBezTo>
                  <a:pt x="2706314" y="105806"/>
                  <a:pt x="2797560" y="101923"/>
                  <a:pt x="3034411" y="128132"/>
                </a:cubicBezTo>
                <a:cubicBezTo>
                  <a:pt x="3271262" y="154341"/>
                  <a:pt x="3542087" y="187345"/>
                  <a:pt x="3855623" y="262089"/>
                </a:cubicBezTo>
                <a:cubicBezTo>
                  <a:pt x="4169159" y="336833"/>
                  <a:pt x="4635096" y="495057"/>
                  <a:pt x="4915628" y="576596"/>
                </a:cubicBezTo>
                <a:cubicBezTo>
                  <a:pt x="5196160" y="658135"/>
                  <a:pt x="5341766" y="712494"/>
                  <a:pt x="5538818" y="751322"/>
                </a:cubicBezTo>
                <a:cubicBezTo>
                  <a:pt x="5735870" y="790150"/>
                  <a:pt x="5895066" y="808593"/>
                  <a:pt x="6097942" y="809564"/>
                </a:cubicBezTo>
                <a:cubicBezTo>
                  <a:pt x="6300818" y="810535"/>
                  <a:pt x="6633769" y="771706"/>
                  <a:pt x="6756077" y="757146"/>
                </a:cubicBezTo>
                <a:cubicBezTo>
                  <a:pt x="6878385" y="742586"/>
                  <a:pt x="6855088" y="732393"/>
                  <a:pt x="6831791" y="722201"/>
                </a:cubicBezTo>
              </a:path>
            </a:pathLst>
          </a:custGeom>
          <a:noFill/>
          <a:ln w="101600" cmpd="dbl">
            <a:solidFill>
              <a:srgbClr val="E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7" name="Freihandform 16">
            <a:extLst>
              <a:ext uri="{FF2B5EF4-FFF2-40B4-BE49-F238E27FC236}">
                <a16:creationId xmlns:a16="http://schemas.microsoft.com/office/drawing/2014/main" id="{C8F3A6D8-6106-007C-28C4-8364608EEE89}"/>
              </a:ext>
            </a:extLst>
          </p:cNvPr>
          <p:cNvSpPr/>
          <p:nvPr userDrawn="1"/>
        </p:nvSpPr>
        <p:spPr>
          <a:xfrm rot="20830255" flipV="1">
            <a:off x="6814034" y="3022794"/>
            <a:ext cx="6850428" cy="809581"/>
          </a:xfrm>
          <a:custGeom>
            <a:avLst/>
            <a:gdLst>
              <a:gd name="connsiteX0" fmla="*/ 0 w 6850428"/>
              <a:gd name="connsiteY0" fmla="*/ 0 h 809581"/>
              <a:gd name="connsiteX1" fmla="*/ 448464 w 6850428"/>
              <a:gd name="connsiteY1" fmla="*/ 99011 h 809581"/>
              <a:gd name="connsiteX2" fmla="*/ 1403633 w 6850428"/>
              <a:gd name="connsiteY2" fmla="*/ 122308 h 809581"/>
              <a:gd name="connsiteX3" fmla="*/ 2434518 w 6850428"/>
              <a:gd name="connsiteY3" fmla="*/ 104835 h 809581"/>
              <a:gd name="connsiteX4" fmla="*/ 3034411 w 6850428"/>
              <a:gd name="connsiteY4" fmla="*/ 128132 h 809581"/>
              <a:gd name="connsiteX5" fmla="*/ 3855623 w 6850428"/>
              <a:gd name="connsiteY5" fmla="*/ 262089 h 809581"/>
              <a:gd name="connsiteX6" fmla="*/ 4915628 w 6850428"/>
              <a:gd name="connsiteY6" fmla="*/ 576596 h 809581"/>
              <a:gd name="connsiteX7" fmla="*/ 5538818 w 6850428"/>
              <a:gd name="connsiteY7" fmla="*/ 751322 h 809581"/>
              <a:gd name="connsiteX8" fmla="*/ 6097942 w 6850428"/>
              <a:gd name="connsiteY8" fmla="*/ 809564 h 809581"/>
              <a:gd name="connsiteX9" fmla="*/ 6756077 w 6850428"/>
              <a:gd name="connsiteY9" fmla="*/ 757146 h 809581"/>
              <a:gd name="connsiteX10" fmla="*/ 6831791 w 6850428"/>
              <a:gd name="connsiteY10" fmla="*/ 722201 h 8095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6850428" h="809581">
                <a:moveTo>
                  <a:pt x="0" y="0"/>
                </a:moveTo>
                <a:cubicBezTo>
                  <a:pt x="107262" y="39313"/>
                  <a:pt x="214525" y="78626"/>
                  <a:pt x="448464" y="99011"/>
                </a:cubicBezTo>
                <a:cubicBezTo>
                  <a:pt x="682403" y="119396"/>
                  <a:pt x="1072624" y="121337"/>
                  <a:pt x="1403633" y="122308"/>
                </a:cubicBezTo>
                <a:cubicBezTo>
                  <a:pt x="1734642" y="123279"/>
                  <a:pt x="2162722" y="103864"/>
                  <a:pt x="2434518" y="104835"/>
                </a:cubicBezTo>
                <a:cubicBezTo>
                  <a:pt x="2706314" y="105806"/>
                  <a:pt x="2797560" y="101923"/>
                  <a:pt x="3034411" y="128132"/>
                </a:cubicBezTo>
                <a:cubicBezTo>
                  <a:pt x="3271262" y="154341"/>
                  <a:pt x="3542087" y="187345"/>
                  <a:pt x="3855623" y="262089"/>
                </a:cubicBezTo>
                <a:cubicBezTo>
                  <a:pt x="4169159" y="336833"/>
                  <a:pt x="4635096" y="495057"/>
                  <a:pt x="4915628" y="576596"/>
                </a:cubicBezTo>
                <a:cubicBezTo>
                  <a:pt x="5196160" y="658135"/>
                  <a:pt x="5341766" y="712494"/>
                  <a:pt x="5538818" y="751322"/>
                </a:cubicBezTo>
                <a:cubicBezTo>
                  <a:pt x="5735870" y="790150"/>
                  <a:pt x="5895066" y="808593"/>
                  <a:pt x="6097942" y="809564"/>
                </a:cubicBezTo>
                <a:cubicBezTo>
                  <a:pt x="6300818" y="810535"/>
                  <a:pt x="6633769" y="771706"/>
                  <a:pt x="6756077" y="757146"/>
                </a:cubicBezTo>
                <a:cubicBezTo>
                  <a:pt x="6878385" y="742586"/>
                  <a:pt x="6855088" y="732393"/>
                  <a:pt x="6831791" y="722201"/>
                </a:cubicBezTo>
              </a:path>
            </a:pathLst>
          </a:custGeom>
          <a:noFill/>
          <a:ln w="101600" cmpd="dbl">
            <a:solidFill>
              <a:srgbClr val="E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18" name="Grafik 17">
            <a:extLst>
              <a:ext uri="{FF2B5EF4-FFF2-40B4-BE49-F238E27FC236}">
                <a16:creationId xmlns:a16="http://schemas.microsoft.com/office/drawing/2014/main" id="{87FA3511-64C2-EA6E-E0C2-C68C58A42D1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2344441" y="2725081"/>
            <a:ext cx="2656656" cy="2430558"/>
          </a:xfrm>
          <a:prstGeom prst="rect">
            <a:avLst/>
          </a:prstGeom>
        </p:spPr>
      </p:pic>
      <p:pic>
        <p:nvPicPr>
          <p:cNvPr id="19" name="Grafik 18">
            <a:extLst>
              <a:ext uri="{FF2B5EF4-FFF2-40B4-BE49-F238E27FC236}">
                <a16:creationId xmlns:a16="http://schemas.microsoft.com/office/drawing/2014/main" id="{1AFAE179-C0F1-C3A9-BF22-5910BC9E10EF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782350" y="2615970"/>
            <a:ext cx="2225690" cy="2036270"/>
          </a:xfrm>
          <a:prstGeom prst="rect">
            <a:avLst/>
          </a:prstGeom>
        </p:spPr>
      </p:pic>
      <p:sp>
        <p:nvSpPr>
          <p:cNvPr id="20" name="Rechteck 19">
            <a:extLst>
              <a:ext uri="{FF2B5EF4-FFF2-40B4-BE49-F238E27FC236}">
                <a16:creationId xmlns:a16="http://schemas.microsoft.com/office/drawing/2014/main" id="{5899CA32-2DB5-4B48-3157-3903C51B3FEA}"/>
              </a:ext>
            </a:extLst>
          </p:cNvPr>
          <p:cNvSpPr/>
          <p:nvPr userDrawn="1"/>
        </p:nvSpPr>
        <p:spPr>
          <a:xfrm>
            <a:off x="6260782" y="2612729"/>
            <a:ext cx="5148868" cy="2542910"/>
          </a:xfrm>
          <a:prstGeom prst="rect">
            <a:avLst/>
          </a:prstGeom>
          <a:solidFill>
            <a:srgbClr val="238A8D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1" name="Textfeld 20">
            <a:extLst>
              <a:ext uri="{FF2B5EF4-FFF2-40B4-BE49-F238E27FC236}">
                <a16:creationId xmlns:a16="http://schemas.microsoft.com/office/drawing/2014/main" id="{2F3FDC95-650C-7F91-F320-D8C78AB261D6}"/>
              </a:ext>
            </a:extLst>
          </p:cNvPr>
          <p:cNvSpPr txBox="1"/>
          <p:nvPr userDrawn="1"/>
        </p:nvSpPr>
        <p:spPr>
          <a:xfrm>
            <a:off x="6520578" y="2836018"/>
            <a:ext cx="4889072" cy="161582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3300" b="1" i="0" dirty="0" smtClean="0">
                <a:solidFill>
                  <a:schemeClr val="bg1"/>
                </a:solidFill>
                <a:latin typeface="Approach Koeln" pitchFamily="2" charset="0"/>
              </a:rPr>
              <a:t>OWA Gespräch mit Politik und Verwaltung Bergisch</a:t>
            </a:r>
            <a:r>
              <a:rPr lang="de-DE" sz="3300" b="1" i="0" baseline="0" dirty="0" smtClean="0">
                <a:solidFill>
                  <a:schemeClr val="bg1"/>
                </a:solidFill>
                <a:latin typeface="Approach Koeln" pitchFamily="2" charset="0"/>
              </a:rPr>
              <a:t> Gladbach</a:t>
            </a:r>
            <a:endParaRPr lang="de-DE" sz="3300" b="1" i="0" dirty="0">
              <a:solidFill>
                <a:schemeClr val="bg1"/>
              </a:solidFill>
              <a:latin typeface="Approach Koeln" pitchFamily="2" charset="0"/>
            </a:endParaRPr>
          </a:p>
        </p:txBody>
      </p:sp>
      <p:sp>
        <p:nvSpPr>
          <p:cNvPr id="22" name="Textfeld 21">
            <a:extLst>
              <a:ext uri="{FF2B5EF4-FFF2-40B4-BE49-F238E27FC236}">
                <a16:creationId xmlns:a16="http://schemas.microsoft.com/office/drawing/2014/main" id="{63FD6356-71EC-9272-10E7-42FA6DCEF257}"/>
              </a:ext>
            </a:extLst>
          </p:cNvPr>
          <p:cNvSpPr txBox="1"/>
          <p:nvPr userDrawn="1"/>
        </p:nvSpPr>
        <p:spPr>
          <a:xfrm>
            <a:off x="6520578" y="4425479"/>
            <a:ext cx="402581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800" dirty="0">
                <a:solidFill>
                  <a:schemeClr val="bg1"/>
                </a:solidFill>
                <a:latin typeface="Approach Koeln"/>
                <a:cs typeface="Arial"/>
              </a:rPr>
              <a:t>zur Ost-West-Achse </a:t>
            </a:r>
            <a:r>
              <a:rPr lang="de-DE" sz="1800" dirty="0">
                <a:latin typeface="Approach Koeln" pitchFamily="2" charset="0"/>
                <a:cs typeface="Arial" panose="020B0604020202020204" pitchFamily="34" charset="0"/>
              </a:rPr>
              <a:t/>
            </a:r>
            <a:br>
              <a:rPr lang="de-DE" sz="1800" dirty="0">
                <a:latin typeface="Approach Koeln" pitchFamily="2" charset="0"/>
                <a:cs typeface="Arial" panose="020B0604020202020204" pitchFamily="34" charset="0"/>
              </a:rPr>
            </a:br>
            <a:r>
              <a:rPr lang="de-DE" sz="1800" dirty="0">
                <a:solidFill>
                  <a:schemeClr val="bg1"/>
                </a:solidFill>
                <a:latin typeface="Approach Koeln"/>
                <a:cs typeface="Arial"/>
              </a:rPr>
              <a:t>am </a:t>
            </a:r>
            <a:r>
              <a:rPr lang="de-DE" sz="1800" dirty="0" smtClean="0">
                <a:solidFill>
                  <a:schemeClr val="bg1"/>
                </a:solidFill>
                <a:latin typeface="Approach Koeln"/>
                <a:cs typeface="Arial"/>
              </a:rPr>
              <a:t>10.10.2023</a:t>
            </a:r>
            <a:endParaRPr lang="de-DE" sz="1800" dirty="0">
              <a:solidFill>
                <a:schemeClr val="bg1"/>
              </a:solidFill>
            </a:endParaRPr>
          </a:p>
        </p:txBody>
      </p:sp>
      <p:grpSp>
        <p:nvGrpSpPr>
          <p:cNvPr id="26" name="Gruppieren 25">
            <a:extLst>
              <a:ext uri="{FF2B5EF4-FFF2-40B4-BE49-F238E27FC236}">
                <a16:creationId xmlns:a16="http://schemas.microsoft.com/office/drawing/2014/main" id="{E21CD2C3-BFA0-CB13-6DA6-876AB3D286EA}"/>
              </a:ext>
            </a:extLst>
          </p:cNvPr>
          <p:cNvGrpSpPr/>
          <p:nvPr userDrawn="1"/>
        </p:nvGrpSpPr>
        <p:grpSpPr>
          <a:xfrm>
            <a:off x="282578" y="210425"/>
            <a:ext cx="2850036" cy="382306"/>
            <a:chOff x="282578" y="210425"/>
            <a:chExt cx="2850036" cy="382306"/>
          </a:xfrm>
        </p:grpSpPr>
        <p:pic>
          <p:nvPicPr>
            <p:cNvPr id="5" name="Grafik 4">
              <a:extLst>
                <a:ext uri="{FF2B5EF4-FFF2-40B4-BE49-F238E27FC236}">
                  <a16:creationId xmlns:a16="http://schemas.microsoft.com/office/drawing/2014/main" id="{3C53E6A0-7501-DA27-6E1E-67F126485F2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282578" y="210425"/>
              <a:ext cx="1682284" cy="359572"/>
            </a:xfrm>
            <a:prstGeom prst="rect">
              <a:avLst/>
            </a:prstGeom>
          </p:spPr>
        </p:pic>
        <p:pic>
          <p:nvPicPr>
            <p:cNvPr id="25" name="Grafik 24">
              <a:extLst>
                <a:ext uri="{FF2B5EF4-FFF2-40B4-BE49-F238E27FC236}">
                  <a16:creationId xmlns:a16="http://schemas.microsoft.com/office/drawing/2014/main" id="{0D0A78DC-3C72-36B9-FBD4-03A0824DB26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334943" y="257118"/>
              <a:ext cx="797671" cy="33561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09333236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Inhaltsverzeichn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1">
            <a:extLst>
              <a:ext uri="{FF2B5EF4-FFF2-40B4-BE49-F238E27FC236}">
                <a16:creationId xmlns:a16="http://schemas.microsoft.com/office/drawing/2014/main" id="{215B44AE-560F-0259-DC2C-ED3AFA1681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49688" y="760895"/>
            <a:ext cx="10803565" cy="575568"/>
          </a:xfrm>
          <a:prstGeom prst="rect">
            <a:avLst/>
          </a:prstGeom>
        </p:spPr>
        <p:txBody>
          <a:bodyPr/>
          <a:lstStyle>
            <a:lvl1pPr>
              <a:defRPr sz="2800" b="1" i="0">
                <a:solidFill>
                  <a:srgbClr val="238A8D"/>
                </a:solidFill>
                <a:latin typeface="Approach Koeln SemiBold" pitchFamily="2" charset="0"/>
              </a:defRPr>
            </a:lvl1pPr>
          </a:lstStyle>
          <a:p>
            <a:r>
              <a:rPr lang="de-DE"/>
              <a:t>Inhaltsverzeichnis</a:t>
            </a:r>
          </a:p>
        </p:txBody>
      </p:sp>
      <p:sp>
        <p:nvSpPr>
          <p:cNvPr id="8" name="Inhaltsplatzhalter 2">
            <a:extLst>
              <a:ext uri="{FF2B5EF4-FFF2-40B4-BE49-F238E27FC236}">
                <a16:creationId xmlns:a16="http://schemas.microsoft.com/office/drawing/2014/main" id="{FD8636E5-3424-F06B-64C7-12FA7EAE556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49688" y="1889781"/>
            <a:ext cx="10795099" cy="1526832"/>
          </a:xfrm>
          <a:prstGeom prst="rect">
            <a:avLst/>
          </a:prstGeom>
        </p:spPr>
        <p:txBody>
          <a:bodyPr/>
          <a:lstStyle>
            <a:lvl1pPr marL="365125" indent="-365125">
              <a:buFont typeface="+mj-lt"/>
              <a:buAutoNum type="arabicPeriod"/>
              <a:defRPr sz="1800" b="0" i="0">
                <a:latin typeface="Approach Koeln" pitchFamily="2" charset="0"/>
              </a:defRPr>
            </a:lvl1pPr>
            <a:lvl2pPr marL="712788" indent="-346075">
              <a:buFont typeface="+mj-lt"/>
              <a:buAutoNum type="arabicPeriod"/>
              <a:defRPr sz="1800" b="0" i="0">
                <a:latin typeface="Approach Koeln" pitchFamily="2" charset="0"/>
              </a:defRPr>
            </a:lvl2pPr>
            <a:lvl3pPr marL="1077913" indent="-363538">
              <a:buFont typeface="+mj-lt"/>
              <a:buAutoNum type="arabicPeriod"/>
              <a:defRPr sz="1800" b="0" i="0">
                <a:latin typeface="Approach Koeln" pitchFamily="2" charset="0"/>
              </a:defRPr>
            </a:lvl3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</p:spTree>
    <p:extLst>
      <p:ext uri="{BB962C8B-B14F-4D97-AF65-F5344CB8AC3E}">
        <p14:creationId xmlns:p14="http://schemas.microsoft.com/office/powerpoint/2010/main" val="28365304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29" userDrawn="1">
          <p15:clr>
            <a:srgbClr val="FBAE40"/>
          </p15:clr>
        </p15:guide>
        <p15:guide id="2" orient="horz" pos="527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Inhaltsverzeichn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1">
            <a:extLst>
              <a:ext uri="{FF2B5EF4-FFF2-40B4-BE49-F238E27FC236}">
                <a16:creationId xmlns:a16="http://schemas.microsoft.com/office/drawing/2014/main" id="{215B44AE-560F-0259-DC2C-ED3AFA1681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49688" y="760895"/>
            <a:ext cx="10803565" cy="575568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 b="1" i="0">
                <a:solidFill>
                  <a:srgbClr val="238A8D"/>
                </a:solidFill>
                <a:latin typeface="Approach Koeln SemiBold" pitchFamily="2" charset="0"/>
              </a:defRPr>
            </a:lvl1pPr>
          </a:lstStyle>
          <a:p>
            <a:r>
              <a:rPr lang="de-DE"/>
              <a:t>Rückblick auf die XX. Gesprächsrunde im Monat 20XX​</a:t>
            </a:r>
          </a:p>
        </p:txBody>
      </p:sp>
      <p:sp>
        <p:nvSpPr>
          <p:cNvPr id="8" name="Inhaltsplatzhalter 2">
            <a:extLst>
              <a:ext uri="{FF2B5EF4-FFF2-40B4-BE49-F238E27FC236}">
                <a16:creationId xmlns:a16="http://schemas.microsoft.com/office/drawing/2014/main" id="{FD8636E5-3424-F06B-64C7-12FA7EAE556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49688" y="1889781"/>
            <a:ext cx="10795099" cy="1526832"/>
          </a:xfrm>
          <a:prstGeom prst="rect">
            <a:avLst/>
          </a:prstGeom>
        </p:spPr>
        <p:txBody>
          <a:bodyPr/>
          <a:lstStyle>
            <a:lvl1pPr marL="365125" indent="-365125">
              <a:buFont typeface="+mj-lt"/>
              <a:buAutoNum type="arabicPeriod"/>
              <a:defRPr sz="1800" b="0" i="0">
                <a:latin typeface="Approach Koeln" pitchFamily="2" charset="0"/>
              </a:defRPr>
            </a:lvl1pPr>
            <a:lvl2pPr marL="712788" indent="-346075">
              <a:buFont typeface="+mj-lt"/>
              <a:buAutoNum type="arabicPeriod"/>
              <a:defRPr sz="1800" b="0" i="0">
                <a:latin typeface="Approach Koeln" pitchFamily="2" charset="0"/>
              </a:defRPr>
            </a:lvl2pPr>
            <a:lvl3pPr marL="1077913" indent="-363538">
              <a:buFont typeface="+mj-lt"/>
              <a:buAutoNum type="arabicPeriod"/>
              <a:defRPr sz="1800" b="0" i="0">
                <a:latin typeface="Approach Koeln" pitchFamily="2" charset="0"/>
              </a:defRPr>
            </a:lvl3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3" name="Freihandform 2">
            <a:extLst>
              <a:ext uri="{FF2B5EF4-FFF2-40B4-BE49-F238E27FC236}">
                <a16:creationId xmlns:a16="http://schemas.microsoft.com/office/drawing/2014/main" id="{CB98A7AE-5DDA-E379-E01D-AABEC56B33BA}"/>
              </a:ext>
            </a:extLst>
          </p:cNvPr>
          <p:cNvSpPr/>
          <p:nvPr userDrawn="1"/>
        </p:nvSpPr>
        <p:spPr>
          <a:xfrm>
            <a:off x="9283104" y="-579717"/>
            <a:ext cx="1951661" cy="9197147"/>
          </a:xfrm>
          <a:custGeom>
            <a:avLst/>
            <a:gdLst>
              <a:gd name="connsiteX0" fmla="*/ 903452 w 1882543"/>
              <a:gd name="connsiteY0" fmla="*/ 0 h 8871430"/>
              <a:gd name="connsiteX1" fmla="*/ 1843252 w 1882543"/>
              <a:gd name="connsiteY1" fmla="*/ 1181100 h 8871430"/>
              <a:gd name="connsiteX2" fmla="*/ 1538452 w 1882543"/>
              <a:gd name="connsiteY2" fmla="*/ 3733800 h 8871430"/>
              <a:gd name="connsiteX3" fmla="*/ 39852 w 1882543"/>
              <a:gd name="connsiteY3" fmla="*/ 6578600 h 8871430"/>
              <a:gd name="connsiteX4" fmla="*/ 446252 w 1882543"/>
              <a:gd name="connsiteY4" fmla="*/ 8572500 h 8871430"/>
              <a:gd name="connsiteX5" fmla="*/ 598652 w 1882543"/>
              <a:gd name="connsiteY5" fmla="*/ 8826500 h 88714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882543" h="8871430">
                <a:moveTo>
                  <a:pt x="903452" y="0"/>
                </a:moveTo>
                <a:cubicBezTo>
                  <a:pt x="1320435" y="279400"/>
                  <a:pt x="1737419" y="558800"/>
                  <a:pt x="1843252" y="1181100"/>
                </a:cubicBezTo>
                <a:cubicBezTo>
                  <a:pt x="1949085" y="1803400"/>
                  <a:pt x="1839019" y="2834217"/>
                  <a:pt x="1538452" y="3733800"/>
                </a:cubicBezTo>
                <a:cubicBezTo>
                  <a:pt x="1237885" y="4633383"/>
                  <a:pt x="221885" y="5772150"/>
                  <a:pt x="39852" y="6578600"/>
                </a:cubicBezTo>
                <a:cubicBezTo>
                  <a:pt x="-142181" y="7385050"/>
                  <a:pt x="353119" y="8197850"/>
                  <a:pt x="446252" y="8572500"/>
                </a:cubicBezTo>
                <a:cubicBezTo>
                  <a:pt x="539385" y="8947150"/>
                  <a:pt x="569018" y="8886825"/>
                  <a:pt x="598652" y="8826500"/>
                </a:cubicBezTo>
              </a:path>
            </a:pathLst>
          </a:custGeom>
          <a:noFill/>
          <a:ln w="107950" cmpd="dbl">
            <a:solidFill>
              <a:srgbClr val="E1061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8B269BE7-A7DA-BD4C-B454-3EA1F7565D6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492841" y="1160782"/>
            <a:ext cx="1381271" cy="1381271"/>
          </a:xfrm>
          <a:prstGeom prst="rect">
            <a:avLst/>
          </a:prstGeom>
        </p:spPr>
      </p:pic>
      <p:pic>
        <p:nvPicPr>
          <p:cNvPr id="5" name="Grafik 4">
            <a:extLst>
              <a:ext uri="{FF2B5EF4-FFF2-40B4-BE49-F238E27FC236}">
                <a16:creationId xmlns:a16="http://schemas.microsoft.com/office/drawing/2014/main" id="{4454A0D2-2245-417D-0A33-16937A2ED0C2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9897050" y="2373175"/>
            <a:ext cx="1951662" cy="1785563"/>
          </a:xfrm>
          <a:prstGeom prst="rect">
            <a:avLst/>
          </a:prstGeom>
        </p:spPr>
      </p:pic>
      <p:pic>
        <p:nvPicPr>
          <p:cNvPr id="6" name="Grafik 5">
            <a:extLst>
              <a:ext uri="{FF2B5EF4-FFF2-40B4-BE49-F238E27FC236}">
                <a16:creationId xmlns:a16="http://schemas.microsoft.com/office/drawing/2014/main" id="{DE26F74E-3BC9-AC9C-CA21-484D0B924060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8968366" y="4311541"/>
            <a:ext cx="1559803" cy="17855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0258801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29">
          <p15:clr>
            <a:srgbClr val="FBAE40"/>
          </p15:clr>
        </p15:guide>
        <p15:guide id="2" orient="horz" pos="527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1">
            <a:extLst>
              <a:ext uri="{FF2B5EF4-FFF2-40B4-BE49-F238E27FC236}">
                <a16:creationId xmlns:a16="http://schemas.microsoft.com/office/drawing/2014/main" id="{8CFA0DA0-462E-78D2-7C15-4B4DDF9BD87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49688" y="760895"/>
            <a:ext cx="10803565" cy="392845"/>
          </a:xfrm>
          <a:prstGeom prst="rect">
            <a:avLst/>
          </a:prstGeom>
        </p:spPr>
        <p:txBody>
          <a:bodyPr/>
          <a:lstStyle>
            <a:lvl1pPr>
              <a:defRPr sz="2800" b="1" i="0">
                <a:solidFill>
                  <a:srgbClr val="238A8D"/>
                </a:solidFill>
                <a:latin typeface="Approach Koeln SemiBold" pitchFamily="2" charset="0"/>
              </a:defRPr>
            </a:lvl1pPr>
          </a:lstStyle>
          <a:p>
            <a:r>
              <a:rPr lang="de-DE"/>
              <a:t>Hier steht eine Headline</a:t>
            </a:r>
          </a:p>
        </p:txBody>
      </p:sp>
      <p:sp>
        <p:nvSpPr>
          <p:cNvPr id="8" name="Inhaltsplatzhalter 2">
            <a:extLst>
              <a:ext uri="{FF2B5EF4-FFF2-40B4-BE49-F238E27FC236}">
                <a16:creationId xmlns:a16="http://schemas.microsoft.com/office/drawing/2014/main" id="{ABB1FF15-92E1-30E8-3720-B6B52732709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49688" y="1889781"/>
            <a:ext cx="10795099" cy="1526832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800" b="0" i="0">
                <a:latin typeface="Approach Koeln" pitchFamily="2" charset="0"/>
              </a:defRPr>
            </a:lvl1pPr>
            <a:lvl2pPr marL="366713" indent="0">
              <a:buFontTx/>
              <a:buNone/>
              <a:defRPr sz="1800" b="0" i="0">
                <a:latin typeface="Approach Koeln" pitchFamily="2" charset="0"/>
              </a:defRPr>
            </a:lvl2pPr>
            <a:lvl3pPr marL="714375" indent="0">
              <a:buFontTx/>
              <a:buNone/>
              <a:defRPr sz="1800" b="0" i="0">
                <a:latin typeface="Approach Koeln" pitchFamily="2" charset="0"/>
              </a:defRPr>
            </a:lvl3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86C12300-F301-800F-9358-BC50BE917262}"/>
              </a:ext>
            </a:extLst>
          </p:cNvPr>
          <p:cNvSpPr txBox="1">
            <a:spLocks/>
          </p:cNvSpPr>
          <p:nvPr userDrawn="1"/>
        </p:nvSpPr>
        <p:spPr>
          <a:xfrm>
            <a:off x="749688" y="1165851"/>
            <a:ext cx="10803565" cy="392845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i="0" kern="1200">
                <a:solidFill>
                  <a:srgbClr val="EF0000"/>
                </a:solidFill>
                <a:latin typeface="Approach Koeln SemiBold" pitchFamily="2" charset="0"/>
                <a:ea typeface="+mj-ea"/>
                <a:cs typeface="+mj-cs"/>
              </a:defRPr>
            </a:lvl1pPr>
          </a:lstStyle>
          <a:p>
            <a:pPr fontAlgn="auto">
              <a:spcAft>
                <a:spcPts val="0"/>
              </a:spcAft>
            </a:pPr>
            <a:endParaRPr lang="de-DE" b="0" i="0">
              <a:solidFill>
                <a:srgbClr val="238A8D"/>
              </a:solidFill>
              <a:latin typeface="Approach Koeln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8857307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31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1">
            <a:extLst>
              <a:ext uri="{FF2B5EF4-FFF2-40B4-BE49-F238E27FC236}">
                <a16:creationId xmlns:a16="http://schemas.microsoft.com/office/drawing/2014/main" id="{8CFA0DA0-462E-78D2-7C15-4B4DDF9BD87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49688" y="760895"/>
            <a:ext cx="10803565" cy="392845"/>
          </a:xfrm>
          <a:prstGeom prst="rect">
            <a:avLst/>
          </a:prstGeom>
        </p:spPr>
        <p:txBody>
          <a:bodyPr/>
          <a:lstStyle>
            <a:lvl1pPr>
              <a:defRPr sz="2800" b="1" i="0">
                <a:solidFill>
                  <a:srgbClr val="238A8D"/>
                </a:solidFill>
                <a:latin typeface="Approach Koeln SemiBold" pitchFamily="2" charset="0"/>
              </a:defRPr>
            </a:lvl1pPr>
          </a:lstStyle>
          <a:p>
            <a:r>
              <a:rPr lang="de-DE"/>
              <a:t>Hier steht eine Headline</a:t>
            </a:r>
          </a:p>
        </p:txBody>
      </p:sp>
      <p:sp>
        <p:nvSpPr>
          <p:cNvPr id="8" name="Inhaltsplatzhalter 2">
            <a:extLst>
              <a:ext uri="{FF2B5EF4-FFF2-40B4-BE49-F238E27FC236}">
                <a16:creationId xmlns:a16="http://schemas.microsoft.com/office/drawing/2014/main" id="{ABB1FF15-92E1-30E8-3720-B6B52732709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49688" y="1889781"/>
            <a:ext cx="10795099" cy="1526832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800" b="0" i="0">
                <a:latin typeface="Approach Koeln" pitchFamily="2" charset="0"/>
              </a:defRPr>
            </a:lvl1pPr>
            <a:lvl2pPr marL="366713" indent="0">
              <a:buFontTx/>
              <a:buNone/>
              <a:defRPr sz="1800" b="0" i="0">
                <a:latin typeface="Approach Koeln" pitchFamily="2" charset="0"/>
              </a:defRPr>
            </a:lvl2pPr>
            <a:lvl3pPr marL="714375" indent="0">
              <a:buFontTx/>
              <a:buNone/>
              <a:defRPr sz="1800" b="0" i="0">
                <a:latin typeface="Approach Koeln" pitchFamily="2" charset="0"/>
              </a:defRPr>
            </a:lvl3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86C12300-F301-800F-9358-BC50BE917262}"/>
              </a:ext>
            </a:extLst>
          </p:cNvPr>
          <p:cNvSpPr txBox="1">
            <a:spLocks/>
          </p:cNvSpPr>
          <p:nvPr userDrawn="1"/>
        </p:nvSpPr>
        <p:spPr>
          <a:xfrm>
            <a:off x="749688" y="1165851"/>
            <a:ext cx="10803565" cy="392845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i="0" kern="1200">
                <a:solidFill>
                  <a:srgbClr val="EF0000"/>
                </a:solidFill>
                <a:latin typeface="Approach Koeln SemiBold" pitchFamily="2" charset="0"/>
                <a:ea typeface="+mj-ea"/>
                <a:cs typeface="+mj-cs"/>
              </a:defRPr>
            </a:lvl1pPr>
          </a:lstStyle>
          <a:p>
            <a:pPr fontAlgn="auto">
              <a:spcAft>
                <a:spcPts val="0"/>
              </a:spcAft>
            </a:pPr>
            <a:r>
              <a:rPr lang="de-DE" b="0" i="0">
                <a:solidFill>
                  <a:srgbClr val="238A8D"/>
                </a:solidFill>
                <a:latin typeface="Approach Koeln" pitchFamily="2" charset="0"/>
              </a:rPr>
              <a:t>Hier steht eine Subheadline</a:t>
            </a:r>
          </a:p>
        </p:txBody>
      </p:sp>
    </p:spTree>
    <p:extLst>
      <p:ext uri="{BB962C8B-B14F-4D97-AF65-F5344CB8AC3E}">
        <p14:creationId xmlns:p14="http://schemas.microsoft.com/office/powerpoint/2010/main" val="30505179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3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_Aufzaehl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1">
            <a:extLst>
              <a:ext uri="{FF2B5EF4-FFF2-40B4-BE49-F238E27FC236}">
                <a16:creationId xmlns:a16="http://schemas.microsoft.com/office/drawing/2014/main" id="{8CFA0DA0-462E-78D2-7C15-4B4DDF9BD87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49688" y="760895"/>
            <a:ext cx="10803565" cy="392845"/>
          </a:xfrm>
          <a:prstGeom prst="rect">
            <a:avLst/>
          </a:prstGeom>
        </p:spPr>
        <p:txBody>
          <a:bodyPr/>
          <a:lstStyle>
            <a:lvl1pPr>
              <a:defRPr sz="2800" b="1" i="0">
                <a:solidFill>
                  <a:srgbClr val="238A8D"/>
                </a:solidFill>
                <a:latin typeface="Approach Koeln SemiBold" pitchFamily="2" charset="0"/>
              </a:defRPr>
            </a:lvl1pPr>
          </a:lstStyle>
          <a:p>
            <a:r>
              <a:rPr lang="de-DE"/>
              <a:t>Hier steht eine Headline</a:t>
            </a:r>
          </a:p>
        </p:txBody>
      </p:sp>
      <p:sp>
        <p:nvSpPr>
          <p:cNvPr id="8" name="Inhaltsplatzhalter 2">
            <a:extLst>
              <a:ext uri="{FF2B5EF4-FFF2-40B4-BE49-F238E27FC236}">
                <a16:creationId xmlns:a16="http://schemas.microsoft.com/office/drawing/2014/main" id="{ABB1FF15-92E1-30E8-3720-B6B52732709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49688" y="1887944"/>
            <a:ext cx="10795099" cy="1526832"/>
          </a:xfrm>
          <a:prstGeom prst="rect">
            <a:avLst/>
          </a:prstGeom>
        </p:spPr>
        <p:txBody>
          <a:bodyPr/>
          <a:lstStyle>
            <a:lvl1pPr marL="285750" indent="-285750">
              <a:buFont typeface="Symbol" pitchFamily="2" charset="2"/>
              <a:buChar char="-"/>
              <a:defRPr sz="1800" b="0" i="0">
                <a:latin typeface="Approach Koeln" pitchFamily="2" charset="0"/>
              </a:defRPr>
            </a:lvl1pPr>
            <a:lvl2pPr marL="652463" indent="-285750">
              <a:buFont typeface="Symbol" pitchFamily="2" charset="2"/>
              <a:buChar char="-"/>
              <a:defRPr sz="1800" b="0" i="0">
                <a:latin typeface="Approach Koeln" pitchFamily="2" charset="0"/>
              </a:defRPr>
            </a:lvl2pPr>
            <a:lvl3pPr marL="1000125" indent="-285750">
              <a:buFont typeface="Symbol" pitchFamily="2" charset="2"/>
              <a:buChar char="-"/>
              <a:defRPr sz="1800" b="0" i="0">
                <a:latin typeface="Approach Koeln" pitchFamily="2" charset="0"/>
              </a:defRPr>
            </a:lvl3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86C12300-F301-800F-9358-BC50BE917262}"/>
              </a:ext>
            </a:extLst>
          </p:cNvPr>
          <p:cNvSpPr txBox="1">
            <a:spLocks/>
          </p:cNvSpPr>
          <p:nvPr userDrawn="1"/>
        </p:nvSpPr>
        <p:spPr>
          <a:xfrm>
            <a:off x="749688" y="1165851"/>
            <a:ext cx="10803565" cy="392845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i="0" kern="1200">
                <a:solidFill>
                  <a:srgbClr val="EF0000"/>
                </a:solidFill>
                <a:latin typeface="Approach Koeln SemiBold" pitchFamily="2" charset="0"/>
                <a:ea typeface="+mj-ea"/>
                <a:cs typeface="+mj-cs"/>
              </a:defRPr>
            </a:lvl1pPr>
          </a:lstStyle>
          <a:p>
            <a:pPr fontAlgn="auto">
              <a:spcAft>
                <a:spcPts val="0"/>
              </a:spcAft>
            </a:pPr>
            <a:r>
              <a:rPr lang="de-DE" b="0" i="0">
                <a:solidFill>
                  <a:srgbClr val="238A8D"/>
                </a:solidFill>
                <a:latin typeface="Approach Koeln" pitchFamily="2" charset="0"/>
              </a:rPr>
              <a:t>Hier steht eine Subheadline</a:t>
            </a:r>
          </a:p>
        </p:txBody>
      </p:sp>
    </p:spTree>
    <p:extLst>
      <p:ext uri="{BB962C8B-B14F-4D97-AF65-F5344CB8AC3E}">
        <p14:creationId xmlns:p14="http://schemas.microsoft.com/office/powerpoint/2010/main" val="64452396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85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nhaltsverzeichn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1">
            <a:extLst>
              <a:ext uri="{FF2B5EF4-FFF2-40B4-BE49-F238E27FC236}">
                <a16:creationId xmlns:a16="http://schemas.microsoft.com/office/drawing/2014/main" id="{215B44AE-560F-0259-DC2C-ED3AFA1681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49688" y="760895"/>
            <a:ext cx="10803565" cy="575568"/>
          </a:xfrm>
          <a:prstGeom prst="rect">
            <a:avLst/>
          </a:prstGeom>
        </p:spPr>
        <p:txBody>
          <a:bodyPr/>
          <a:lstStyle>
            <a:lvl1pPr>
              <a:defRPr sz="2800" b="1" i="0">
                <a:solidFill>
                  <a:srgbClr val="238A8D"/>
                </a:solidFill>
                <a:latin typeface="Approach Koeln SemiBold" pitchFamily="2" charset="0"/>
              </a:defRPr>
            </a:lvl1pPr>
          </a:lstStyle>
          <a:p>
            <a:r>
              <a:rPr lang="de-DE"/>
              <a:t>Projektkommunikation</a:t>
            </a:r>
          </a:p>
        </p:txBody>
      </p:sp>
      <p:pic>
        <p:nvPicPr>
          <p:cNvPr id="2" name="Grafik 1">
            <a:extLst>
              <a:ext uri="{FF2B5EF4-FFF2-40B4-BE49-F238E27FC236}">
                <a16:creationId xmlns:a16="http://schemas.microsoft.com/office/drawing/2014/main" id="{DC08F35D-13B0-3A4E-10EB-74D13624067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3877" y="2704016"/>
            <a:ext cx="5335600" cy="3104483"/>
          </a:xfrm>
          <a:prstGeom prst="rect">
            <a:avLst/>
          </a:prstGeom>
        </p:spPr>
      </p:pic>
      <p:sp>
        <p:nvSpPr>
          <p:cNvPr id="5" name="Textfeld 4">
            <a:extLst>
              <a:ext uri="{FF2B5EF4-FFF2-40B4-BE49-F238E27FC236}">
                <a16:creationId xmlns:a16="http://schemas.microsoft.com/office/drawing/2014/main" id="{952DA6C0-AE39-1A71-AC6B-EA3E51FAA577}"/>
              </a:ext>
            </a:extLst>
          </p:cNvPr>
          <p:cNvSpPr txBox="1"/>
          <p:nvPr userDrawn="1"/>
        </p:nvSpPr>
        <p:spPr>
          <a:xfrm>
            <a:off x="6492902" y="3530952"/>
            <a:ext cx="5459192" cy="2277547"/>
          </a:xfrm>
          <a:prstGeom prst="rect">
            <a:avLst/>
          </a:prstGeom>
          <a:noFill/>
        </p:spPr>
        <p:txBody>
          <a:bodyPr wrap="square" numCol="2" rtlCol="0">
            <a:spAutoFit/>
          </a:bodyPr>
          <a:lstStyle/>
          <a:p>
            <a:pPr marL="285750" indent="-285750">
              <a:spcAft>
                <a:spcPts val="600"/>
              </a:spcAft>
              <a:buFont typeface="Symbol" panose="05050102010706020507" pitchFamily="18" charset="2"/>
              <a:buChar char="-"/>
            </a:pPr>
            <a:r>
              <a:rPr lang="de-DE" sz="1600" dirty="0" smtClean="0">
                <a:latin typeface="Approach Koeln"/>
              </a:rPr>
              <a:t>Projekt-Webseite                                                                                 </a:t>
            </a:r>
            <a:r>
              <a:rPr lang="de-DE" sz="1600" dirty="0" smtClean="0">
                <a:solidFill>
                  <a:schemeClr val="tx1"/>
                </a:solidFill>
                <a:latin typeface="Approach Koeln"/>
                <a:hlinkClick r:id="rId3"/>
              </a:rPr>
              <a:t>www.ostwestachse.koeln</a:t>
            </a:r>
            <a:endParaRPr lang="de-DE" sz="1600" dirty="0" smtClean="0">
              <a:solidFill>
                <a:schemeClr val="tx1"/>
              </a:solidFill>
              <a:latin typeface="Approach Koeln"/>
            </a:endParaRPr>
          </a:p>
          <a:p>
            <a:pPr marL="0" indent="0">
              <a:spcAft>
                <a:spcPts val="600"/>
              </a:spcAft>
              <a:buFont typeface="Symbol" panose="05050102010706020507" pitchFamily="18" charset="2"/>
              <a:buNone/>
            </a:pPr>
            <a:endParaRPr lang="de-DE" sz="1600" dirty="0">
              <a:solidFill>
                <a:schemeClr val="tx1"/>
              </a:solidFill>
              <a:latin typeface="Approach Koeln"/>
            </a:endParaRPr>
          </a:p>
          <a:p>
            <a:pPr marL="285750" indent="-285750">
              <a:spcAft>
                <a:spcPts val="600"/>
              </a:spcAft>
              <a:buFont typeface="Symbol" panose="05050102010706020507" pitchFamily="18" charset="2"/>
              <a:buChar char="-"/>
            </a:pPr>
            <a:r>
              <a:rPr lang="de-DE" sz="1600" dirty="0" smtClean="0">
                <a:latin typeface="Approach Koeln"/>
              </a:rPr>
              <a:t>Informationsflyer</a:t>
            </a:r>
          </a:p>
          <a:p>
            <a:pPr marL="285750" indent="-285750">
              <a:spcAft>
                <a:spcPts val="600"/>
              </a:spcAft>
              <a:buFont typeface="Symbol" panose="05050102010706020507" pitchFamily="18" charset="2"/>
              <a:buChar char="-"/>
            </a:pPr>
            <a:endParaRPr lang="de-DE" sz="1600" dirty="0" smtClean="0">
              <a:latin typeface="Approach Koeln"/>
            </a:endParaRPr>
          </a:p>
          <a:p>
            <a:pPr marL="285750" indent="-285750">
              <a:spcAft>
                <a:spcPts val="600"/>
              </a:spcAft>
              <a:buFont typeface="Symbol" panose="05050102010706020507" pitchFamily="18" charset="2"/>
              <a:buChar char="-"/>
            </a:pPr>
            <a:r>
              <a:rPr lang="de-DE" sz="1600" dirty="0" smtClean="0">
                <a:latin typeface="Approach Koeln"/>
              </a:rPr>
              <a:t>Rückfragen an </a:t>
            </a:r>
          </a:p>
          <a:p>
            <a:pPr marL="0" indent="0">
              <a:spcAft>
                <a:spcPts val="600"/>
              </a:spcAft>
              <a:buFont typeface="Symbol" panose="05050102010706020507" pitchFamily="18" charset="2"/>
              <a:buNone/>
            </a:pPr>
            <a:r>
              <a:rPr lang="de-DE" sz="1600" baseline="0" dirty="0" smtClean="0">
                <a:latin typeface="Approach Koeln"/>
              </a:rPr>
              <a:t>      </a:t>
            </a:r>
            <a:r>
              <a:rPr lang="de-DE" sz="1600" dirty="0" err="1" smtClean="0">
                <a:latin typeface="Approach Koeln"/>
                <a:hlinkClick r:id="rId4"/>
              </a:rPr>
              <a:t>ostwestachse@kvb.koeln</a:t>
            </a:r>
            <a:endParaRPr lang="de-DE" sz="1600" dirty="0" smtClean="0">
              <a:latin typeface="Approach Koeln"/>
            </a:endParaRPr>
          </a:p>
          <a:p>
            <a:pPr marL="0" indent="0">
              <a:spcAft>
                <a:spcPts val="600"/>
              </a:spcAft>
              <a:buFont typeface="Symbol" panose="05050102010706020507" pitchFamily="18" charset="2"/>
              <a:buNone/>
            </a:pPr>
            <a:endParaRPr lang="de-DE" sz="1600" dirty="0" smtClean="0">
              <a:latin typeface="Approach Koeln"/>
            </a:endParaRPr>
          </a:p>
          <a:p>
            <a:pPr marL="285750" indent="-285750">
              <a:spcAft>
                <a:spcPts val="600"/>
              </a:spcAft>
              <a:buFont typeface="Symbol" panose="05050102010706020507" pitchFamily="18" charset="2"/>
              <a:buChar char="-"/>
            </a:pPr>
            <a:endParaRPr lang="de-DE" sz="1600" dirty="0">
              <a:latin typeface="Approach Koeln"/>
            </a:endParaRPr>
          </a:p>
          <a:p>
            <a:pPr>
              <a:spcAft>
                <a:spcPts val="600"/>
              </a:spcAft>
            </a:pPr>
            <a:endParaRPr lang="de-DE" sz="1600" dirty="0">
              <a:latin typeface="Approach Koeln"/>
            </a:endParaRPr>
          </a:p>
          <a:p>
            <a:pPr>
              <a:spcAft>
                <a:spcPts val="600"/>
              </a:spcAft>
            </a:pPr>
            <a:endParaRPr lang="de-DE" sz="1600" dirty="0">
              <a:latin typeface="Approach Koeln"/>
            </a:endParaRPr>
          </a:p>
        </p:txBody>
      </p:sp>
      <p:grpSp>
        <p:nvGrpSpPr>
          <p:cNvPr id="6" name="Gruppieren 5">
            <a:extLst>
              <a:ext uri="{FF2B5EF4-FFF2-40B4-BE49-F238E27FC236}">
                <a16:creationId xmlns:a16="http://schemas.microsoft.com/office/drawing/2014/main" id="{31EE7532-E119-9288-16A1-E24984F5B921}"/>
              </a:ext>
            </a:extLst>
          </p:cNvPr>
          <p:cNvGrpSpPr/>
          <p:nvPr userDrawn="1"/>
        </p:nvGrpSpPr>
        <p:grpSpPr>
          <a:xfrm>
            <a:off x="6574887" y="2125697"/>
            <a:ext cx="2245828" cy="1080999"/>
            <a:chOff x="6781086" y="1971245"/>
            <a:chExt cx="4867151" cy="2342739"/>
          </a:xfrm>
        </p:grpSpPr>
        <p:sp>
          <p:nvSpPr>
            <p:cNvPr id="9" name="Rechteck 8">
              <a:extLst>
                <a:ext uri="{FF2B5EF4-FFF2-40B4-BE49-F238E27FC236}">
                  <a16:creationId xmlns:a16="http://schemas.microsoft.com/office/drawing/2014/main" id="{C190A34F-E6C7-8D4F-5E2E-253FD777B06F}"/>
                </a:ext>
              </a:extLst>
            </p:cNvPr>
            <p:cNvSpPr/>
            <p:nvPr userDrawn="1"/>
          </p:nvSpPr>
          <p:spPr>
            <a:xfrm>
              <a:off x="6781086" y="1971245"/>
              <a:ext cx="4867151" cy="1700392"/>
            </a:xfrm>
            <a:prstGeom prst="rect">
              <a:avLst/>
            </a:prstGeom>
            <a:solidFill>
              <a:srgbClr val="238A8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b="1">
                  <a:latin typeface="Approach Koeln"/>
                </a:rPr>
                <a:t>Kommunikationsmittel</a:t>
              </a:r>
            </a:p>
          </p:txBody>
        </p:sp>
        <p:sp>
          <p:nvSpPr>
            <p:cNvPr id="10" name="Rechtwinkliges Dreieck 9">
              <a:extLst>
                <a:ext uri="{FF2B5EF4-FFF2-40B4-BE49-F238E27FC236}">
                  <a16:creationId xmlns:a16="http://schemas.microsoft.com/office/drawing/2014/main" id="{B3CA2055-0BD9-DC58-E9B7-074848A57C13}"/>
                </a:ext>
              </a:extLst>
            </p:cNvPr>
            <p:cNvSpPr/>
            <p:nvPr userDrawn="1"/>
          </p:nvSpPr>
          <p:spPr>
            <a:xfrm flipV="1">
              <a:off x="8687820" y="3260303"/>
              <a:ext cx="1053680" cy="1053681"/>
            </a:xfrm>
            <a:prstGeom prst="rtTriangle">
              <a:avLst/>
            </a:prstGeom>
            <a:solidFill>
              <a:srgbClr val="238A8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sp>
        <p:nvSpPr>
          <p:cNvPr id="14" name="Titel 1">
            <a:extLst>
              <a:ext uri="{FF2B5EF4-FFF2-40B4-BE49-F238E27FC236}">
                <a16:creationId xmlns:a16="http://schemas.microsoft.com/office/drawing/2014/main" id="{A3011812-76EF-7189-E957-9441E4E45BEC}"/>
              </a:ext>
            </a:extLst>
          </p:cNvPr>
          <p:cNvSpPr txBox="1">
            <a:spLocks/>
          </p:cNvSpPr>
          <p:nvPr userDrawn="1"/>
        </p:nvSpPr>
        <p:spPr>
          <a:xfrm>
            <a:off x="749688" y="1165851"/>
            <a:ext cx="10803565" cy="392845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i="0" kern="1200">
                <a:solidFill>
                  <a:srgbClr val="EF0000"/>
                </a:solidFill>
                <a:latin typeface="Approach Koeln SemiBold" pitchFamily="2" charset="0"/>
                <a:ea typeface="+mj-ea"/>
                <a:cs typeface="+mj-cs"/>
              </a:defRPr>
            </a:lvl1pPr>
          </a:lstStyle>
          <a:p>
            <a:pPr fontAlgn="auto">
              <a:spcAft>
                <a:spcPts val="0"/>
              </a:spcAft>
            </a:pPr>
            <a:r>
              <a:rPr lang="de-DE" b="0" i="0" dirty="0">
                <a:solidFill>
                  <a:srgbClr val="238A8D"/>
                </a:solidFill>
                <a:latin typeface="Approach Koeln" pitchFamily="2" charset="0"/>
              </a:rPr>
              <a:t>So </a:t>
            </a:r>
            <a:r>
              <a:rPr lang="de-DE" b="0" i="0" dirty="0" smtClean="0">
                <a:solidFill>
                  <a:srgbClr val="238A8D"/>
                </a:solidFill>
                <a:latin typeface="Approach Koeln" pitchFamily="2" charset="0"/>
              </a:rPr>
              <a:t>informieren </a:t>
            </a:r>
            <a:r>
              <a:rPr lang="de-DE" b="0" i="0" dirty="0">
                <a:solidFill>
                  <a:srgbClr val="238A8D"/>
                </a:solidFill>
                <a:latin typeface="Approach Koeln" pitchFamily="2" charset="0"/>
              </a:rPr>
              <a:t>wir</a:t>
            </a:r>
          </a:p>
        </p:txBody>
      </p:sp>
      <p:pic>
        <p:nvPicPr>
          <p:cNvPr id="4" name="Grafik 3" descr="Ein Bild, das Text, Screenshot, Broschüre, Design enthält.&#10;&#10;Automatisch generierte Beschreibung">
            <a:extLst>
              <a:ext uri="{FF2B5EF4-FFF2-40B4-BE49-F238E27FC236}">
                <a16:creationId xmlns:a16="http://schemas.microsoft.com/office/drawing/2014/main" id="{22743567-81DF-A2AE-3AA5-E1717D476F9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5265"/>
          <a:stretch/>
        </p:blipFill>
        <p:spPr>
          <a:xfrm rot="21355300">
            <a:off x="970865" y="1554130"/>
            <a:ext cx="1841901" cy="3751656"/>
          </a:xfrm>
          <a:prstGeom prst="rect">
            <a:avLst/>
          </a:prstGeom>
          <a:effectLst>
            <a:outerShdw blurRad="160814" sx="104000" sy="104000" algn="ctr" rotWithShape="0">
              <a:prstClr val="black">
                <a:alpha val="25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184015131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29" userDrawn="1">
          <p15:clr>
            <a:srgbClr val="FBAE40"/>
          </p15:clr>
        </p15:guide>
        <p15:guide id="2" orient="horz" pos="527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Inhaltsverzeichn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1">
            <a:extLst>
              <a:ext uri="{FF2B5EF4-FFF2-40B4-BE49-F238E27FC236}">
                <a16:creationId xmlns:a16="http://schemas.microsoft.com/office/drawing/2014/main" id="{215B44AE-560F-0259-DC2C-ED3AFA1681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49688" y="760895"/>
            <a:ext cx="10803565" cy="575568"/>
          </a:xfrm>
          <a:prstGeom prst="rect">
            <a:avLst/>
          </a:prstGeom>
        </p:spPr>
        <p:txBody>
          <a:bodyPr/>
          <a:lstStyle>
            <a:lvl1pPr>
              <a:defRPr sz="2800" b="1" i="0">
                <a:solidFill>
                  <a:srgbClr val="238A8D"/>
                </a:solidFill>
                <a:latin typeface="Approach Koeln SemiBold" pitchFamily="2" charset="0"/>
              </a:defRPr>
            </a:lvl1pPr>
          </a:lstStyle>
          <a:p>
            <a:r>
              <a:rPr lang="de-DE"/>
              <a:t>Nachbereitung</a:t>
            </a:r>
          </a:p>
        </p:txBody>
      </p:sp>
      <p:sp>
        <p:nvSpPr>
          <p:cNvPr id="14" name="Titel 1">
            <a:extLst>
              <a:ext uri="{FF2B5EF4-FFF2-40B4-BE49-F238E27FC236}">
                <a16:creationId xmlns:a16="http://schemas.microsoft.com/office/drawing/2014/main" id="{A3011812-76EF-7189-E957-9441E4E45BEC}"/>
              </a:ext>
            </a:extLst>
          </p:cNvPr>
          <p:cNvSpPr txBox="1">
            <a:spLocks/>
          </p:cNvSpPr>
          <p:nvPr userDrawn="1"/>
        </p:nvSpPr>
        <p:spPr>
          <a:xfrm>
            <a:off x="749688" y="1165851"/>
            <a:ext cx="10803565" cy="392845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i="0" kern="1200">
                <a:solidFill>
                  <a:srgbClr val="EF0000"/>
                </a:solidFill>
                <a:latin typeface="Approach Koeln SemiBold" pitchFamily="2" charset="0"/>
                <a:ea typeface="+mj-ea"/>
                <a:cs typeface="+mj-cs"/>
              </a:defRPr>
            </a:lvl1pPr>
          </a:lstStyle>
          <a:p>
            <a:pPr fontAlgn="auto">
              <a:spcAft>
                <a:spcPts val="0"/>
              </a:spcAft>
            </a:pPr>
            <a:endParaRPr lang="de-DE" b="0" i="0">
              <a:latin typeface="Approach Koeln" pitchFamily="2" charset="0"/>
            </a:endParaRPr>
          </a:p>
        </p:txBody>
      </p:sp>
      <p:grpSp>
        <p:nvGrpSpPr>
          <p:cNvPr id="5" name="Gruppieren 4">
            <a:extLst>
              <a:ext uri="{FF2B5EF4-FFF2-40B4-BE49-F238E27FC236}">
                <a16:creationId xmlns:a16="http://schemas.microsoft.com/office/drawing/2014/main" id="{E4045210-EF2E-B035-9E1E-8791E64E2A31}"/>
              </a:ext>
            </a:extLst>
          </p:cNvPr>
          <p:cNvGrpSpPr/>
          <p:nvPr userDrawn="1"/>
        </p:nvGrpSpPr>
        <p:grpSpPr>
          <a:xfrm>
            <a:off x="1627096" y="2479430"/>
            <a:ext cx="3994215" cy="3033547"/>
            <a:chOff x="1627096" y="2479430"/>
            <a:chExt cx="3994215" cy="3033547"/>
          </a:xfrm>
          <a:solidFill>
            <a:srgbClr val="A8D6EE"/>
          </a:solidFill>
        </p:grpSpPr>
        <p:sp>
          <p:nvSpPr>
            <p:cNvPr id="3" name="Gefaltete Ecke 16">
              <a:extLst>
                <a:ext uri="{FF2B5EF4-FFF2-40B4-BE49-F238E27FC236}">
                  <a16:creationId xmlns:a16="http://schemas.microsoft.com/office/drawing/2014/main" id="{5E93D9D8-4D4D-3388-8A14-6B2204644572}"/>
                </a:ext>
              </a:extLst>
            </p:cNvPr>
            <p:cNvSpPr/>
            <p:nvPr userDrawn="1"/>
          </p:nvSpPr>
          <p:spPr>
            <a:xfrm>
              <a:off x="1627096" y="2479430"/>
              <a:ext cx="3994215" cy="2831907"/>
            </a:xfrm>
            <a:prstGeom prst="foldedCorner">
              <a:avLst>
                <a:gd name="adj" fmla="val 18104"/>
              </a:avLst>
            </a:prstGeom>
            <a:grpFill/>
            <a:ln>
              <a:noFill/>
            </a:ln>
            <a:effectLst>
              <a:outerShdw blurRad="270149" sx="101000" sy="1010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45720" rIns="91440" bIns="45720" rtlCol="0" anchor="t"/>
            <a:lstStyle/>
            <a:p>
              <a:pPr marL="0" indent="0">
                <a:buNone/>
              </a:pPr>
              <a:endParaRPr lang="de-DE" sz="16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" name="Textfeld 7">
              <a:extLst>
                <a:ext uri="{FF2B5EF4-FFF2-40B4-BE49-F238E27FC236}">
                  <a16:creationId xmlns:a16="http://schemas.microsoft.com/office/drawing/2014/main" id="{C4770502-9098-969C-7128-2D7EF16F404F}"/>
                </a:ext>
              </a:extLst>
            </p:cNvPr>
            <p:cNvSpPr txBox="1"/>
            <p:nvPr userDrawn="1"/>
          </p:nvSpPr>
          <p:spPr>
            <a:xfrm>
              <a:off x="1768839" y="2573711"/>
              <a:ext cx="3567660" cy="2939266"/>
            </a:xfrm>
            <a:prstGeom prst="rect">
              <a:avLst/>
            </a:prstGeom>
            <a:noFill/>
          </p:spPr>
          <p:txBody>
            <a:bodyPr wrap="square" numCol="1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de-DE" sz="1600" b="1" dirty="0">
                  <a:latin typeface="Approach Koeln"/>
                </a:rPr>
                <a:t>So informieren wir die Öffentlichkeit:</a:t>
              </a:r>
            </a:p>
            <a:p>
              <a:pPr>
                <a:spcAft>
                  <a:spcPts val="600"/>
                </a:spcAft>
              </a:pPr>
              <a:endParaRPr lang="de-DE" sz="1600" b="1" dirty="0">
                <a:latin typeface="Approach Koeln"/>
              </a:endParaRPr>
            </a:p>
            <a:p>
              <a:pPr marL="285750" indent="-285750">
                <a:spcAft>
                  <a:spcPts val="600"/>
                </a:spcAft>
                <a:buFont typeface="Symbol" panose="05050102010706020507" pitchFamily="18" charset="2"/>
                <a:buChar char="-"/>
              </a:pPr>
              <a:r>
                <a:rPr lang="de-DE" sz="1600" dirty="0">
                  <a:solidFill>
                    <a:schemeClr val="tx1"/>
                  </a:solidFill>
                  <a:latin typeface="Approach Koeln"/>
                </a:rPr>
                <a:t>Pressemitteilung am Donnerstag, </a:t>
              </a:r>
              <a:r>
                <a:rPr lang="de-DE" sz="1600" b="1" dirty="0" smtClean="0">
                  <a:solidFill>
                    <a:srgbClr val="FF0000"/>
                  </a:solidFill>
                  <a:latin typeface="Approach Koeln"/>
                </a:rPr>
                <a:t>XX. Oktober </a:t>
              </a:r>
              <a:r>
                <a:rPr lang="de-DE" sz="1600" b="1" dirty="0">
                  <a:solidFill>
                    <a:srgbClr val="FF0000"/>
                  </a:solidFill>
                  <a:latin typeface="Approach Koeln"/>
                </a:rPr>
                <a:t>2023</a:t>
              </a:r>
            </a:p>
            <a:p>
              <a:pPr marL="285750" indent="-285750">
                <a:spcAft>
                  <a:spcPts val="600"/>
                </a:spcAft>
                <a:buFont typeface="Symbol" panose="05050102010706020507" pitchFamily="18" charset="2"/>
                <a:buChar char="-"/>
              </a:pPr>
              <a:endParaRPr lang="de-DE" sz="1600" dirty="0">
                <a:latin typeface="Approach Koeln"/>
              </a:endParaRPr>
            </a:p>
            <a:p>
              <a:pPr marL="285750" indent="-285750">
                <a:spcAft>
                  <a:spcPts val="600"/>
                </a:spcAft>
                <a:buFont typeface="Symbol" panose="05050102010706020507" pitchFamily="18" charset="2"/>
                <a:buChar char="-"/>
              </a:pPr>
              <a:r>
                <a:rPr lang="de-DE" sz="1600" dirty="0">
                  <a:latin typeface="Approach Koeln"/>
                </a:rPr>
                <a:t>Veröffentlichung eines Kurzberichtes auf der Projekt-Webseite </a:t>
              </a:r>
            </a:p>
            <a:p>
              <a:pPr>
                <a:spcAft>
                  <a:spcPts val="600"/>
                </a:spcAft>
              </a:pPr>
              <a:endParaRPr lang="de-DE" sz="1600" dirty="0">
                <a:latin typeface="Approach Koeln"/>
              </a:endParaRPr>
            </a:p>
          </p:txBody>
        </p:sp>
      </p:grpSp>
      <p:grpSp>
        <p:nvGrpSpPr>
          <p:cNvPr id="2" name="Gruppieren 1">
            <a:extLst>
              <a:ext uri="{FF2B5EF4-FFF2-40B4-BE49-F238E27FC236}">
                <a16:creationId xmlns:a16="http://schemas.microsoft.com/office/drawing/2014/main" id="{324422C4-DA7C-2B80-E0A9-A9C31CF8B2AC}"/>
              </a:ext>
            </a:extLst>
          </p:cNvPr>
          <p:cNvGrpSpPr/>
          <p:nvPr userDrawn="1"/>
        </p:nvGrpSpPr>
        <p:grpSpPr>
          <a:xfrm>
            <a:off x="6319904" y="2479431"/>
            <a:ext cx="4699949" cy="2831906"/>
            <a:chOff x="6853304" y="2479431"/>
            <a:chExt cx="4699949" cy="2831906"/>
          </a:xfrm>
          <a:solidFill>
            <a:srgbClr val="A8D6EE"/>
          </a:solidFill>
        </p:grpSpPr>
        <p:sp>
          <p:nvSpPr>
            <p:cNvPr id="4" name="Gefaltete Ecke 16">
              <a:extLst>
                <a:ext uri="{FF2B5EF4-FFF2-40B4-BE49-F238E27FC236}">
                  <a16:creationId xmlns:a16="http://schemas.microsoft.com/office/drawing/2014/main" id="{5186ED27-D973-47D5-5666-023A7535A58A}"/>
                </a:ext>
              </a:extLst>
            </p:cNvPr>
            <p:cNvSpPr/>
            <p:nvPr userDrawn="1"/>
          </p:nvSpPr>
          <p:spPr>
            <a:xfrm>
              <a:off x="6853304" y="2479431"/>
              <a:ext cx="4699949" cy="2831906"/>
            </a:xfrm>
            <a:prstGeom prst="foldedCorner">
              <a:avLst>
                <a:gd name="adj" fmla="val 18104"/>
              </a:avLst>
            </a:prstGeom>
            <a:grpFill/>
            <a:ln>
              <a:noFill/>
            </a:ln>
            <a:effectLst>
              <a:outerShdw blurRad="270149" sx="101000" sy="1010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45720" rIns="91440" bIns="45720" rtlCol="0" anchor="t"/>
            <a:lstStyle/>
            <a:p>
              <a:pPr marL="0" indent="0">
                <a:buNone/>
              </a:pPr>
              <a:endParaRPr lang="de-DE" sz="16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5" name="Textfeld 14">
              <a:extLst>
                <a:ext uri="{FF2B5EF4-FFF2-40B4-BE49-F238E27FC236}">
                  <a16:creationId xmlns:a16="http://schemas.microsoft.com/office/drawing/2014/main" id="{6BBC4913-6B5C-1A52-F8FD-9268CCFCC82D}"/>
                </a:ext>
              </a:extLst>
            </p:cNvPr>
            <p:cNvSpPr txBox="1"/>
            <p:nvPr userDrawn="1"/>
          </p:nvSpPr>
          <p:spPr>
            <a:xfrm>
              <a:off x="7015215" y="2573711"/>
              <a:ext cx="4045507" cy="2693045"/>
            </a:xfrm>
            <a:prstGeom prst="rect">
              <a:avLst/>
            </a:prstGeom>
            <a:grpFill/>
          </p:spPr>
          <p:txBody>
            <a:bodyPr wrap="square" numCol="1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de-DE" sz="1600" b="1" dirty="0">
                  <a:latin typeface="Approach Koeln"/>
                </a:rPr>
                <a:t>So bereiten wir den Termin </a:t>
              </a:r>
              <a:br>
                <a:rPr lang="de-DE" sz="1600" b="1" dirty="0">
                  <a:latin typeface="Approach Koeln"/>
                </a:rPr>
              </a:br>
              <a:r>
                <a:rPr lang="de-DE" sz="1600" b="1" dirty="0">
                  <a:latin typeface="Approach Koeln"/>
                </a:rPr>
                <a:t>für Sie nach:</a:t>
              </a:r>
            </a:p>
            <a:p>
              <a:pPr>
                <a:spcAft>
                  <a:spcPts val="600"/>
                </a:spcAft>
              </a:pPr>
              <a:endParaRPr lang="de-DE" sz="1600" b="1" dirty="0">
                <a:latin typeface="Approach Koeln"/>
              </a:endParaRPr>
            </a:p>
            <a:p>
              <a:pPr>
                <a:spcAft>
                  <a:spcPts val="600"/>
                </a:spcAft>
              </a:pPr>
              <a:r>
                <a:rPr lang="de-DE" sz="1600" b="0" dirty="0">
                  <a:latin typeface="Approach Koeln"/>
                </a:rPr>
                <a:t>Die Besprechungsergebnisse werden in einem Ergebnisprotokoll festgehalten und mit der Präsentation veröffentlicht.</a:t>
              </a:r>
            </a:p>
            <a:p>
              <a:pPr>
                <a:spcAft>
                  <a:spcPts val="600"/>
                </a:spcAft>
              </a:pPr>
              <a:endParaRPr lang="de-DE" sz="1600" b="0" dirty="0">
                <a:latin typeface="Approach Koeln"/>
              </a:endParaRPr>
            </a:p>
            <a:p>
              <a:pPr>
                <a:spcAft>
                  <a:spcPts val="600"/>
                </a:spcAft>
              </a:pPr>
              <a:r>
                <a:rPr lang="de-DE" sz="1600" b="0" dirty="0">
                  <a:latin typeface="Approach Koeln"/>
                </a:rPr>
                <a:t>Fragen oder Hinweise dazu an:           </a:t>
              </a:r>
              <a:br>
                <a:rPr lang="de-DE" sz="1600" b="0" dirty="0">
                  <a:latin typeface="Approach Koeln"/>
                </a:rPr>
              </a:br>
              <a:r>
                <a:rPr lang="de-DE" sz="1600" b="1" dirty="0" err="1">
                  <a:latin typeface="Approach Koeln"/>
                </a:rPr>
                <a:t>ostwestachse@kvb.koeln</a:t>
              </a:r>
              <a:endParaRPr lang="de-DE" sz="1600" b="1" dirty="0">
                <a:latin typeface="Approach Koeln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18096175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29" userDrawn="1">
          <p15:clr>
            <a:srgbClr val="FBAE40"/>
          </p15:clr>
        </p15:guide>
        <p15:guide id="2" orient="horz" pos="527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tren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>
            <a:extLst>
              <a:ext uri="{FF2B5EF4-FFF2-40B4-BE49-F238E27FC236}">
                <a16:creationId xmlns:a16="http://schemas.microsoft.com/office/drawing/2014/main" id="{6467594A-C90F-6B33-685E-06D5EE32845F}"/>
              </a:ext>
            </a:extLst>
          </p:cNvPr>
          <p:cNvSpPr/>
          <p:nvPr userDrawn="1"/>
        </p:nvSpPr>
        <p:spPr>
          <a:xfrm>
            <a:off x="296617" y="282299"/>
            <a:ext cx="11613083" cy="6014173"/>
          </a:xfrm>
          <a:prstGeom prst="rect">
            <a:avLst/>
          </a:prstGeom>
          <a:solidFill>
            <a:srgbClr val="238A8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rgbClr val="EF0000"/>
              </a:solidFill>
            </a:endParaRP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B95A3813-4802-A09D-EB14-00A93E9A7548}"/>
              </a:ext>
            </a:extLst>
          </p:cNvPr>
          <p:cNvSpPr txBox="1"/>
          <p:nvPr userDrawn="1"/>
        </p:nvSpPr>
        <p:spPr>
          <a:xfrm>
            <a:off x="743550" y="2486701"/>
            <a:ext cx="6062285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3300" b="1" i="0">
                <a:solidFill>
                  <a:schemeClr val="bg1"/>
                </a:solidFill>
                <a:latin typeface="Approach Koeln" pitchFamily="2" charset="0"/>
              </a:rPr>
              <a:t>Dies ist ein </a:t>
            </a:r>
            <a:r>
              <a:rPr lang="de-DE" sz="3300" b="1" i="0" err="1">
                <a:solidFill>
                  <a:schemeClr val="bg1"/>
                </a:solidFill>
                <a:latin typeface="Approach Koeln" pitchFamily="2" charset="0"/>
              </a:rPr>
              <a:t>Kapiteltrenner</a:t>
            </a:r>
            <a:endParaRPr lang="de-DE" sz="3300" b="1" i="0">
              <a:solidFill>
                <a:schemeClr val="bg1"/>
              </a:solidFill>
              <a:latin typeface="Approach Koeln" pitchFamily="2" charset="0"/>
            </a:endParaRPr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F9EA2A19-1B55-A85E-F6DF-368172A5795F}"/>
              </a:ext>
            </a:extLst>
          </p:cNvPr>
          <p:cNvSpPr txBox="1"/>
          <p:nvPr userDrawn="1"/>
        </p:nvSpPr>
        <p:spPr>
          <a:xfrm>
            <a:off x="743550" y="3086865"/>
            <a:ext cx="606228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800" b="0" i="0">
                <a:solidFill>
                  <a:schemeClr val="bg1"/>
                </a:solidFill>
                <a:latin typeface="Approach Koeln" pitchFamily="2" charset="0"/>
              </a:rPr>
              <a:t>Mit optionalem Zusatz</a:t>
            </a:r>
          </a:p>
        </p:txBody>
      </p:sp>
    </p:spTree>
    <p:extLst>
      <p:ext uri="{BB962C8B-B14F-4D97-AF65-F5344CB8AC3E}">
        <p14:creationId xmlns:p14="http://schemas.microsoft.com/office/powerpoint/2010/main" val="133375634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 5" descr="Ein Bild, das Text, Karte, Atlas enthält.&#10;&#10;Automatisch generierte Beschreibung">
            <a:extLst>
              <a:ext uri="{FF2B5EF4-FFF2-40B4-BE49-F238E27FC236}">
                <a16:creationId xmlns:a16="http://schemas.microsoft.com/office/drawing/2014/main" id="{F79CD336-8010-0690-75BE-58F1DFCF95C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89" r="10789" b="36199"/>
          <a:stretch/>
        </p:blipFill>
        <p:spPr>
          <a:xfrm>
            <a:off x="839788" y="1881188"/>
            <a:ext cx="10512107" cy="3366781"/>
          </a:xfrm>
          <a:prstGeom prst="rect">
            <a:avLst/>
          </a:prstGeom>
        </p:spPr>
      </p:pic>
      <p:sp>
        <p:nvSpPr>
          <p:cNvPr id="7" name="Titel 1">
            <a:extLst>
              <a:ext uri="{FF2B5EF4-FFF2-40B4-BE49-F238E27FC236}">
                <a16:creationId xmlns:a16="http://schemas.microsoft.com/office/drawing/2014/main" id="{8CFA0DA0-462E-78D2-7C15-4B4DDF9BD87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49688" y="760895"/>
            <a:ext cx="10803565" cy="392845"/>
          </a:xfrm>
          <a:prstGeom prst="rect">
            <a:avLst/>
          </a:prstGeom>
        </p:spPr>
        <p:txBody>
          <a:bodyPr/>
          <a:lstStyle>
            <a:lvl1pPr>
              <a:defRPr sz="2800" b="1" i="0">
                <a:solidFill>
                  <a:srgbClr val="238A8D"/>
                </a:solidFill>
                <a:latin typeface="Approach Koeln SemiBold" pitchFamily="2" charset="0"/>
              </a:defRPr>
            </a:lvl1pPr>
          </a:lstStyle>
          <a:p>
            <a:r>
              <a:rPr lang="de-DE"/>
              <a:t>Projektbereich</a:t>
            </a:r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86C12300-F301-800F-9358-BC50BE917262}"/>
              </a:ext>
            </a:extLst>
          </p:cNvPr>
          <p:cNvSpPr txBox="1">
            <a:spLocks/>
          </p:cNvSpPr>
          <p:nvPr userDrawn="1"/>
        </p:nvSpPr>
        <p:spPr>
          <a:xfrm>
            <a:off x="749688" y="1165851"/>
            <a:ext cx="10803565" cy="392845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i="0" kern="1200">
                <a:solidFill>
                  <a:srgbClr val="EF0000"/>
                </a:solidFill>
                <a:latin typeface="Approach Koeln SemiBold" pitchFamily="2" charset="0"/>
                <a:ea typeface="+mj-ea"/>
                <a:cs typeface="+mj-cs"/>
              </a:defRPr>
            </a:lvl1pPr>
          </a:lstStyle>
          <a:p>
            <a:pPr fontAlgn="auto">
              <a:spcAft>
                <a:spcPts val="0"/>
              </a:spcAft>
            </a:pPr>
            <a:endParaRPr lang="de-DE" b="0" i="0">
              <a:solidFill>
                <a:srgbClr val="238A8D"/>
              </a:solidFill>
              <a:latin typeface="Approach Koeln" pitchFamily="2" charset="0"/>
            </a:endParaRPr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78520316-B4A4-314F-3932-B1973F92B3D7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8793490" y="4063343"/>
            <a:ext cx="2732509" cy="14005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981309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31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_Tabel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el 1">
            <a:extLst>
              <a:ext uri="{FF2B5EF4-FFF2-40B4-BE49-F238E27FC236}">
                <a16:creationId xmlns:a16="http://schemas.microsoft.com/office/drawing/2014/main" id="{9EB41664-B097-E82C-C5DA-21633FD84B7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49688" y="760895"/>
            <a:ext cx="10803565" cy="392845"/>
          </a:xfrm>
          <a:prstGeom prst="rect">
            <a:avLst/>
          </a:prstGeom>
        </p:spPr>
        <p:txBody>
          <a:bodyPr/>
          <a:lstStyle>
            <a:lvl1pPr>
              <a:defRPr sz="2800" b="1" i="0">
                <a:solidFill>
                  <a:srgbClr val="238A8D"/>
                </a:solidFill>
                <a:latin typeface="Approach Koeln SemiBold" pitchFamily="2" charset="0"/>
              </a:defRPr>
            </a:lvl1pPr>
          </a:lstStyle>
          <a:p>
            <a:r>
              <a:rPr lang="de-DE"/>
              <a:t>Hier steht eine Headline</a:t>
            </a:r>
          </a:p>
        </p:txBody>
      </p:sp>
      <p:sp>
        <p:nvSpPr>
          <p:cNvPr id="10" name="Titel 1">
            <a:extLst>
              <a:ext uri="{FF2B5EF4-FFF2-40B4-BE49-F238E27FC236}">
                <a16:creationId xmlns:a16="http://schemas.microsoft.com/office/drawing/2014/main" id="{B8A07AEA-DB3C-2992-FCA2-11DC201B1878}"/>
              </a:ext>
            </a:extLst>
          </p:cNvPr>
          <p:cNvSpPr txBox="1">
            <a:spLocks/>
          </p:cNvSpPr>
          <p:nvPr userDrawn="1"/>
        </p:nvSpPr>
        <p:spPr>
          <a:xfrm>
            <a:off x="749688" y="1159795"/>
            <a:ext cx="10803565" cy="392845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i="0" kern="1200">
                <a:solidFill>
                  <a:srgbClr val="EF0000"/>
                </a:solidFill>
                <a:latin typeface="Approach Koeln SemiBold" pitchFamily="2" charset="0"/>
                <a:ea typeface="+mj-ea"/>
                <a:cs typeface="+mj-cs"/>
              </a:defRPr>
            </a:lvl1pPr>
          </a:lstStyle>
          <a:p>
            <a:pPr fontAlgn="auto">
              <a:spcAft>
                <a:spcPts val="0"/>
              </a:spcAft>
            </a:pPr>
            <a:r>
              <a:rPr lang="de-DE" b="0" i="0">
                <a:solidFill>
                  <a:srgbClr val="238A8D"/>
                </a:solidFill>
                <a:latin typeface="Approach Koeln" pitchFamily="2" charset="0"/>
              </a:rPr>
              <a:t>Hier steht eine Subheadline</a:t>
            </a:r>
          </a:p>
        </p:txBody>
      </p:sp>
      <p:graphicFrame>
        <p:nvGraphicFramePr>
          <p:cNvPr id="11" name="Tabelle 11">
            <a:extLst>
              <a:ext uri="{FF2B5EF4-FFF2-40B4-BE49-F238E27FC236}">
                <a16:creationId xmlns:a16="http://schemas.microsoft.com/office/drawing/2014/main" id="{3D60C338-56E5-09A2-0827-F70768CB8DB1}"/>
              </a:ext>
            </a:extLst>
          </p:cNvPr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755302204"/>
              </p:ext>
            </p:extLst>
          </p:nvPr>
        </p:nvGraphicFramePr>
        <p:xfrm>
          <a:off x="839788" y="1881188"/>
          <a:ext cx="8128000" cy="25878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5600">
                  <a:extLst>
                    <a:ext uri="{9D8B030D-6E8A-4147-A177-3AD203B41FA5}">
                      <a16:colId xmlns:a16="http://schemas.microsoft.com/office/drawing/2014/main" val="1650744827"/>
                    </a:ext>
                  </a:extLst>
                </a:gridCol>
                <a:gridCol w="1625600">
                  <a:extLst>
                    <a:ext uri="{9D8B030D-6E8A-4147-A177-3AD203B41FA5}">
                      <a16:colId xmlns:a16="http://schemas.microsoft.com/office/drawing/2014/main" val="4094083435"/>
                    </a:ext>
                  </a:extLst>
                </a:gridCol>
                <a:gridCol w="1625600">
                  <a:extLst>
                    <a:ext uri="{9D8B030D-6E8A-4147-A177-3AD203B41FA5}">
                      <a16:colId xmlns:a16="http://schemas.microsoft.com/office/drawing/2014/main" val="3445126634"/>
                    </a:ext>
                  </a:extLst>
                </a:gridCol>
                <a:gridCol w="1625600">
                  <a:extLst>
                    <a:ext uri="{9D8B030D-6E8A-4147-A177-3AD203B41FA5}">
                      <a16:colId xmlns:a16="http://schemas.microsoft.com/office/drawing/2014/main" val="1590723168"/>
                    </a:ext>
                  </a:extLst>
                </a:gridCol>
                <a:gridCol w="1625600">
                  <a:extLst>
                    <a:ext uri="{9D8B030D-6E8A-4147-A177-3AD203B41FA5}">
                      <a16:colId xmlns:a16="http://schemas.microsoft.com/office/drawing/2014/main" val="2465843446"/>
                    </a:ext>
                  </a:extLst>
                </a:gridCol>
              </a:tblGrid>
              <a:tr h="243179">
                <a:tc>
                  <a:txBody>
                    <a:bodyPr/>
                    <a:lstStyle/>
                    <a:p>
                      <a:r>
                        <a:rPr lang="de-DE" b="1" i="0">
                          <a:solidFill>
                            <a:srgbClr val="238A8D"/>
                          </a:solidFill>
                          <a:latin typeface="Approach Koeln SemiBold" pitchFamily="2" charset="0"/>
                        </a:rPr>
                        <a:t>1. Spalte</a:t>
                      </a:r>
                    </a:p>
                  </a:txBody>
                  <a:tcPr marL="0" marT="46800" anchor="ctr">
                    <a:lnB w="12700" cap="flat" cmpd="sng" algn="ctr">
                      <a:solidFill>
                        <a:srgbClr val="E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e-DE" b="1" i="0">
                          <a:solidFill>
                            <a:srgbClr val="238A8D"/>
                          </a:solidFill>
                          <a:latin typeface="Approach Koeln SemiBold" pitchFamily="2" charset="0"/>
                        </a:rPr>
                        <a:t>2. Spalte</a:t>
                      </a:r>
                    </a:p>
                  </a:txBody>
                  <a:tcPr marL="0" marT="46800" anchor="ctr">
                    <a:lnB w="12700" cap="flat" cmpd="sng" algn="ctr">
                      <a:solidFill>
                        <a:srgbClr val="E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e-DE" b="1" i="0">
                          <a:solidFill>
                            <a:srgbClr val="238A8D"/>
                          </a:solidFill>
                          <a:latin typeface="Approach Koeln SemiBold" pitchFamily="2" charset="0"/>
                        </a:rPr>
                        <a:t>3. Spalte</a:t>
                      </a:r>
                    </a:p>
                  </a:txBody>
                  <a:tcPr marL="0" marT="46800" anchor="ctr">
                    <a:lnB w="12700" cap="flat" cmpd="sng" algn="ctr">
                      <a:solidFill>
                        <a:srgbClr val="E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e-DE" b="1" i="0">
                          <a:solidFill>
                            <a:srgbClr val="238A8D"/>
                          </a:solidFill>
                          <a:latin typeface="Approach Koeln SemiBold" pitchFamily="2" charset="0"/>
                        </a:rPr>
                        <a:t>4. Spalte</a:t>
                      </a:r>
                    </a:p>
                  </a:txBody>
                  <a:tcPr marL="0" marT="46800" anchor="ctr">
                    <a:lnB w="12700" cap="flat" cmpd="sng" algn="ctr">
                      <a:solidFill>
                        <a:srgbClr val="E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e-DE" b="1" i="0">
                          <a:solidFill>
                            <a:srgbClr val="238A8D"/>
                          </a:solidFill>
                          <a:latin typeface="Approach Koeln SemiBold" pitchFamily="2" charset="0"/>
                        </a:rPr>
                        <a:t>5. Spalte</a:t>
                      </a:r>
                    </a:p>
                  </a:txBody>
                  <a:tcPr marL="0" marT="46800" anchor="ctr">
                    <a:lnB w="12700" cap="flat" cmpd="sng" algn="ctr">
                      <a:solidFill>
                        <a:srgbClr val="E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70108675"/>
                  </a:ext>
                </a:extLst>
              </a:tr>
              <a:tr h="127661">
                <a:tc>
                  <a:txBody>
                    <a:bodyPr/>
                    <a:lstStyle/>
                    <a:p>
                      <a:r>
                        <a:rPr lang="de-DE" b="0" i="0">
                          <a:solidFill>
                            <a:schemeClr val="tx1"/>
                          </a:solidFill>
                          <a:latin typeface="Approach Koeln" pitchFamily="2" charset="0"/>
                        </a:rPr>
                        <a:t>Inhalt</a:t>
                      </a:r>
                    </a:p>
                  </a:txBody>
                  <a:tcPr marL="0" marT="46800" anchor="ctr">
                    <a:lnT w="12700" cap="flat" cmpd="sng" algn="ctr">
                      <a:solidFill>
                        <a:srgbClr val="E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e-DE" b="0" i="0">
                          <a:solidFill>
                            <a:schemeClr val="tx1"/>
                          </a:solidFill>
                          <a:latin typeface="Approach Koeln" pitchFamily="2" charset="0"/>
                        </a:rPr>
                        <a:t>Inhalt</a:t>
                      </a:r>
                    </a:p>
                  </a:txBody>
                  <a:tcPr marL="0" marT="46800" anchor="ctr">
                    <a:lnT w="12700" cap="flat" cmpd="sng" algn="ctr">
                      <a:solidFill>
                        <a:srgbClr val="E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e-DE" b="0" i="0">
                          <a:solidFill>
                            <a:schemeClr val="tx1"/>
                          </a:solidFill>
                          <a:latin typeface="Approach Koeln" pitchFamily="2" charset="0"/>
                        </a:rPr>
                        <a:t>Inhalt</a:t>
                      </a:r>
                    </a:p>
                  </a:txBody>
                  <a:tcPr marL="0" marT="46800" anchor="ctr">
                    <a:lnT w="12700" cap="flat" cmpd="sng" algn="ctr">
                      <a:solidFill>
                        <a:srgbClr val="E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e-DE" b="0" i="0">
                          <a:solidFill>
                            <a:schemeClr val="tx1"/>
                          </a:solidFill>
                          <a:latin typeface="Approach Koeln" pitchFamily="2" charset="0"/>
                        </a:rPr>
                        <a:t>Inhalt</a:t>
                      </a:r>
                    </a:p>
                  </a:txBody>
                  <a:tcPr marL="0" marT="46800" anchor="ctr">
                    <a:lnT w="12700" cap="flat" cmpd="sng" algn="ctr">
                      <a:solidFill>
                        <a:srgbClr val="E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e-DE" b="0" i="0">
                          <a:solidFill>
                            <a:schemeClr val="tx1"/>
                          </a:solidFill>
                          <a:latin typeface="Approach Koeln" pitchFamily="2" charset="0"/>
                        </a:rPr>
                        <a:t>Inhalt</a:t>
                      </a:r>
                    </a:p>
                  </a:txBody>
                  <a:tcPr marL="0" marT="46800" anchor="ctr">
                    <a:lnT w="12700" cap="flat" cmpd="sng" algn="ctr">
                      <a:solidFill>
                        <a:srgbClr val="E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837793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b="0" i="0">
                          <a:solidFill>
                            <a:schemeClr val="tx1"/>
                          </a:solidFill>
                          <a:latin typeface="Approach Koeln" pitchFamily="2" charset="0"/>
                        </a:rPr>
                        <a:t>Inhalt</a:t>
                      </a:r>
                    </a:p>
                  </a:txBody>
                  <a:tcPr marL="0" marT="468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b="0" i="0">
                          <a:solidFill>
                            <a:schemeClr val="tx1"/>
                          </a:solidFill>
                          <a:latin typeface="Approach Koeln" pitchFamily="2" charset="0"/>
                        </a:rPr>
                        <a:t>Inhalt</a:t>
                      </a:r>
                    </a:p>
                  </a:txBody>
                  <a:tcPr marL="0" marT="468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b="0" i="0">
                          <a:solidFill>
                            <a:schemeClr val="tx1"/>
                          </a:solidFill>
                          <a:latin typeface="Approach Koeln" pitchFamily="2" charset="0"/>
                        </a:rPr>
                        <a:t>Inhalt</a:t>
                      </a:r>
                    </a:p>
                  </a:txBody>
                  <a:tcPr marL="0" marT="468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b="0" i="0">
                          <a:solidFill>
                            <a:schemeClr val="tx1"/>
                          </a:solidFill>
                          <a:latin typeface="Approach Koeln" pitchFamily="2" charset="0"/>
                        </a:rPr>
                        <a:t>Inhalt</a:t>
                      </a:r>
                    </a:p>
                  </a:txBody>
                  <a:tcPr marL="0" marT="468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b="0" i="0">
                          <a:solidFill>
                            <a:schemeClr val="tx1"/>
                          </a:solidFill>
                          <a:latin typeface="Approach Koeln" pitchFamily="2" charset="0"/>
                        </a:rPr>
                        <a:t>Inhalt</a:t>
                      </a:r>
                    </a:p>
                  </a:txBody>
                  <a:tcPr marL="0" marT="468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6261404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b="0" i="0">
                          <a:solidFill>
                            <a:schemeClr val="tx1"/>
                          </a:solidFill>
                          <a:latin typeface="Approach Koeln" pitchFamily="2" charset="0"/>
                        </a:rPr>
                        <a:t>Inhalt</a:t>
                      </a:r>
                    </a:p>
                  </a:txBody>
                  <a:tcPr marL="0" marT="468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e-DE" b="0" i="0">
                          <a:solidFill>
                            <a:schemeClr val="tx1"/>
                          </a:solidFill>
                          <a:latin typeface="Approach Koeln" pitchFamily="2" charset="0"/>
                        </a:rPr>
                        <a:t>Inhalt</a:t>
                      </a:r>
                    </a:p>
                  </a:txBody>
                  <a:tcPr marL="0" marT="468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e-DE" b="0" i="0">
                          <a:solidFill>
                            <a:schemeClr val="tx1"/>
                          </a:solidFill>
                          <a:latin typeface="Approach Koeln" pitchFamily="2" charset="0"/>
                        </a:rPr>
                        <a:t>Inhalt</a:t>
                      </a:r>
                    </a:p>
                  </a:txBody>
                  <a:tcPr marL="0" marT="468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e-DE" b="0" i="0">
                          <a:solidFill>
                            <a:schemeClr val="tx1"/>
                          </a:solidFill>
                          <a:latin typeface="Approach Koeln" pitchFamily="2" charset="0"/>
                        </a:rPr>
                        <a:t>Inhalt</a:t>
                      </a:r>
                    </a:p>
                  </a:txBody>
                  <a:tcPr marL="0" marT="468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e-DE" b="0" i="0">
                          <a:solidFill>
                            <a:schemeClr val="tx1"/>
                          </a:solidFill>
                          <a:latin typeface="Approach Koeln" pitchFamily="2" charset="0"/>
                        </a:rPr>
                        <a:t>Inhalt</a:t>
                      </a:r>
                    </a:p>
                  </a:txBody>
                  <a:tcPr marL="0" marT="468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427207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b="0" i="0">
                          <a:solidFill>
                            <a:schemeClr val="tx1"/>
                          </a:solidFill>
                          <a:latin typeface="Approach Koeln" pitchFamily="2" charset="0"/>
                        </a:rPr>
                        <a:t>Inhalt</a:t>
                      </a:r>
                    </a:p>
                  </a:txBody>
                  <a:tcPr marL="0" marT="468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b="0" i="0">
                          <a:solidFill>
                            <a:schemeClr val="tx1"/>
                          </a:solidFill>
                          <a:latin typeface="Approach Koeln" pitchFamily="2" charset="0"/>
                        </a:rPr>
                        <a:t>Inhalt</a:t>
                      </a:r>
                    </a:p>
                  </a:txBody>
                  <a:tcPr marL="0" marT="468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b="0" i="0">
                          <a:solidFill>
                            <a:schemeClr val="tx1"/>
                          </a:solidFill>
                          <a:latin typeface="Approach Koeln" pitchFamily="2" charset="0"/>
                        </a:rPr>
                        <a:t>Inhalt</a:t>
                      </a:r>
                    </a:p>
                  </a:txBody>
                  <a:tcPr marL="0" marT="468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b="0" i="0">
                          <a:solidFill>
                            <a:schemeClr val="tx1"/>
                          </a:solidFill>
                          <a:latin typeface="Approach Koeln" pitchFamily="2" charset="0"/>
                        </a:rPr>
                        <a:t>Inhalt</a:t>
                      </a:r>
                    </a:p>
                  </a:txBody>
                  <a:tcPr marL="0" marT="468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b="0" i="0">
                          <a:solidFill>
                            <a:schemeClr val="tx1"/>
                          </a:solidFill>
                          <a:latin typeface="Approach Koeln" pitchFamily="2" charset="0"/>
                        </a:rPr>
                        <a:t>Inhalt</a:t>
                      </a:r>
                    </a:p>
                  </a:txBody>
                  <a:tcPr marL="0" marT="468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7725974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b="0" i="0">
                          <a:solidFill>
                            <a:schemeClr val="tx1"/>
                          </a:solidFill>
                          <a:latin typeface="Approach Koeln" pitchFamily="2" charset="0"/>
                        </a:rPr>
                        <a:t>Inhalt</a:t>
                      </a:r>
                    </a:p>
                  </a:txBody>
                  <a:tcPr marL="0" marT="468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e-DE" b="0" i="0">
                          <a:solidFill>
                            <a:schemeClr val="tx1"/>
                          </a:solidFill>
                          <a:latin typeface="Approach Koeln" pitchFamily="2" charset="0"/>
                        </a:rPr>
                        <a:t>Inhalt</a:t>
                      </a:r>
                    </a:p>
                  </a:txBody>
                  <a:tcPr marL="0" marT="468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e-DE" b="0" i="0">
                          <a:solidFill>
                            <a:schemeClr val="tx1"/>
                          </a:solidFill>
                          <a:latin typeface="Approach Koeln" pitchFamily="2" charset="0"/>
                        </a:rPr>
                        <a:t>Inhalt</a:t>
                      </a:r>
                    </a:p>
                  </a:txBody>
                  <a:tcPr marL="0" marT="468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e-DE" b="0" i="0">
                          <a:solidFill>
                            <a:schemeClr val="tx1"/>
                          </a:solidFill>
                          <a:latin typeface="Approach Koeln" pitchFamily="2" charset="0"/>
                        </a:rPr>
                        <a:t>Inhalt</a:t>
                      </a:r>
                    </a:p>
                  </a:txBody>
                  <a:tcPr marL="0" marT="468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e-DE" b="0" i="0">
                          <a:solidFill>
                            <a:schemeClr val="tx1"/>
                          </a:solidFill>
                          <a:latin typeface="Approach Koeln" pitchFamily="2" charset="0"/>
                        </a:rPr>
                        <a:t>Inhalt</a:t>
                      </a:r>
                    </a:p>
                  </a:txBody>
                  <a:tcPr marL="0" marT="468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7375834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b="0" i="0">
                          <a:solidFill>
                            <a:schemeClr val="tx1"/>
                          </a:solidFill>
                          <a:latin typeface="Approach Koeln" pitchFamily="2" charset="0"/>
                        </a:rPr>
                        <a:t>Inhalt</a:t>
                      </a:r>
                    </a:p>
                  </a:txBody>
                  <a:tcPr marL="0" marT="468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b="0" i="0">
                          <a:solidFill>
                            <a:schemeClr val="tx1"/>
                          </a:solidFill>
                          <a:latin typeface="Approach Koeln" pitchFamily="2" charset="0"/>
                        </a:rPr>
                        <a:t>Inhalt</a:t>
                      </a:r>
                    </a:p>
                  </a:txBody>
                  <a:tcPr marL="0" marT="468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b="0" i="0">
                          <a:solidFill>
                            <a:schemeClr val="tx1"/>
                          </a:solidFill>
                          <a:latin typeface="Approach Koeln" pitchFamily="2" charset="0"/>
                        </a:rPr>
                        <a:t>Inhalt</a:t>
                      </a:r>
                    </a:p>
                  </a:txBody>
                  <a:tcPr marL="0" marT="468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b="0" i="0">
                          <a:solidFill>
                            <a:schemeClr val="tx1"/>
                          </a:solidFill>
                          <a:latin typeface="Approach Koeln" pitchFamily="2" charset="0"/>
                        </a:rPr>
                        <a:t>Inhalt</a:t>
                      </a:r>
                    </a:p>
                  </a:txBody>
                  <a:tcPr marL="0" marT="468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b="0" i="0">
                          <a:solidFill>
                            <a:schemeClr val="tx1"/>
                          </a:solidFill>
                          <a:latin typeface="Approach Koeln" pitchFamily="2" charset="0"/>
                        </a:rPr>
                        <a:t>Inhalt</a:t>
                      </a:r>
                    </a:p>
                  </a:txBody>
                  <a:tcPr marL="0" marT="468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4244338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23769108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>
            <a:extLst>
              <a:ext uri="{FF2B5EF4-FFF2-40B4-BE49-F238E27FC236}">
                <a16:creationId xmlns:a16="http://schemas.microsoft.com/office/drawing/2014/main" id="{437C3C07-D4D9-129C-07C8-D29CADEBF79F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A8D6EE">
              <a:alpha val="40000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Freihandform 1">
            <a:extLst>
              <a:ext uri="{FF2B5EF4-FFF2-40B4-BE49-F238E27FC236}">
                <a16:creationId xmlns:a16="http://schemas.microsoft.com/office/drawing/2014/main" id="{4CF72E3D-3AF8-C97F-B1E3-16827732DD6E}"/>
              </a:ext>
            </a:extLst>
          </p:cNvPr>
          <p:cNvSpPr/>
          <p:nvPr userDrawn="1"/>
        </p:nvSpPr>
        <p:spPr>
          <a:xfrm>
            <a:off x="-75715" y="3689568"/>
            <a:ext cx="6850428" cy="809581"/>
          </a:xfrm>
          <a:custGeom>
            <a:avLst/>
            <a:gdLst>
              <a:gd name="connsiteX0" fmla="*/ 0 w 6850428"/>
              <a:gd name="connsiteY0" fmla="*/ 0 h 809581"/>
              <a:gd name="connsiteX1" fmla="*/ 448464 w 6850428"/>
              <a:gd name="connsiteY1" fmla="*/ 99011 h 809581"/>
              <a:gd name="connsiteX2" fmla="*/ 1403633 w 6850428"/>
              <a:gd name="connsiteY2" fmla="*/ 122308 h 809581"/>
              <a:gd name="connsiteX3" fmla="*/ 2434518 w 6850428"/>
              <a:gd name="connsiteY3" fmla="*/ 104835 h 809581"/>
              <a:gd name="connsiteX4" fmla="*/ 3034411 w 6850428"/>
              <a:gd name="connsiteY4" fmla="*/ 128132 h 809581"/>
              <a:gd name="connsiteX5" fmla="*/ 3855623 w 6850428"/>
              <a:gd name="connsiteY5" fmla="*/ 262089 h 809581"/>
              <a:gd name="connsiteX6" fmla="*/ 4915628 w 6850428"/>
              <a:gd name="connsiteY6" fmla="*/ 576596 h 809581"/>
              <a:gd name="connsiteX7" fmla="*/ 5538818 w 6850428"/>
              <a:gd name="connsiteY7" fmla="*/ 751322 h 809581"/>
              <a:gd name="connsiteX8" fmla="*/ 6097942 w 6850428"/>
              <a:gd name="connsiteY8" fmla="*/ 809564 h 809581"/>
              <a:gd name="connsiteX9" fmla="*/ 6756077 w 6850428"/>
              <a:gd name="connsiteY9" fmla="*/ 757146 h 809581"/>
              <a:gd name="connsiteX10" fmla="*/ 6831791 w 6850428"/>
              <a:gd name="connsiteY10" fmla="*/ 722201 h 8095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6850428" h="809581">
                <a:moveTo>
                  <a:pt x="0" y="0"/>
                </a:moveTo>
                <a:cubicBezTo>
                  <a:pt x="107262" y="39313"/>
                  <a:pt x="214525" y="78626"/>
                  <a:pt x="448464" y="99011"/>
                </a:cubicBezTo>
                <a:cubicBezTo>
                  <a:pt x="682403" y="119396"/>
                  <a:pt x="1072624" y="121337"/>
                  <a:pt x="1403633" y="122308"/>
                </a:cubicBezTo>
                <a:cubicBezTo>
                  <a:pt x="1734642" y="123279"/>
                  <a:pt x="2162722" y="103864"/>
                  <a:pt x="2434518" y="104835"/>
                </a:cubicBezTo>
                <a:cubicBezTo>
                  <a:pt x="2706314" y="105806"/>
                  <a:pt x="2797560" y="101923"/>
                  <a:pt x="3034411" y="128132"/>
                </a:cubicBezTo>
                <a:cubicBezTo>
                  <a:pt x="3271262" y="154341"/>
                  <a:pt x="3542087" y="187345"/>
                  <a:pt x="3855623" y="262089"/>
                </a:cubicBezTo>
                <a:cubicBezTo>
                  <a:pt x="4169159" y="336833"/>
                  <a:pt x="4635096" y="495057"/>
                  <a:pt x="4915628" y="576596"/>
                </a:cubicBezTo>
                <a:cubicBezTo>
                  <a:pt x="5196160" y="658135"/>
                  <a:pt x="5341766" y="712494"/>
                  <a:pt x="5538818" y="751322"/>
                </a:cubicBezTo>
                <a:cubicBezTo>
                  <a:pt x="5735870" y="790150"/>
                  <a:pt x="5895066" y="808593"/>
                  <a:pt x="6097942" y="809564"/>
                </a:cubicBezTo>
                <a:cubicBezTo>
                  <a:pt x="6300818" y="810535"/>
                  <a:pt x="6633769" y="771706"/>
                  <a:pt x="6756077" y="757146"/>
                </a:cubicBezTo>
                <a:cubicBezTo>
                  <a:pt x="6878385" y="742586"/>
                  <a:pt x="6855088" y="732393"/>
                  <a:pt x="6831791" y="722201"/>
                </a:cubicBezTo>
              </a:path>
            </a:pathLst>
          </a:custGeom>
          <a:noFill/>
          <a:ln w="101600" cmpd="dbl">
            <a:solidFill>
              <a:srgbClr val="E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" name="Freihandform 2">
            <a:extLst>
              <a:ext uri="{FF2B5EF4-FFF2-40B4-BE49-F238E27FC236}">
                <a16:creationId xmlns:a16="http://schemas.microsoft.com/office/drawing/2014/main" id="{3CED2C20-1B92-4911-6DA6-B3FB0B474882}"/>
              </a:ext>
            </a:extLst>
          </p:cNvPr>
          <p:cNvSpPr/>
          <p:nvPr userDrawn="1"/>
        </p:nvSpPr>
        <p:spPr>
          <a:xfrm rot="20830255" flipV="1">
            <a:off x="6814034" y="3022794"/>
            <a:ext cx="6850428" cy="809581"/>
          </a:xfrm>
          <a:custGeom>
            <a:avLst/>
            <a:gdLst>
              <a:gd name="connsiteX0" fmla="*/ 0 w 6850428"/>
              <a:gd name="connsiteY0" fmla="*/ 0 h 809581"/>
              <a:gd name="connsiteX1" fmla="*/ 448464 w 6850428"/>
              <a:gd name="connsiteY1" fmla="*/ 99011 h 809581"/>
              <a:gd name="connsiteX2" fmla="*/ 1403633 w 6850428"/>
              <a:gd name="connsiteY2" fmla="*/ 122308 h 809581"/>
              <a:gd name="connsiteX3" fmla="*/ 2434518 w 6850428"/>
              <a:gd name="connsiteY3" fmla="*/ 104835 h 809581"/>
              <a:gd name="connsiteX4" fmla="*/ 3034411 w 6850428"/>
              <a:gd name="connsiteY4" fmla="*/ 128132 h 809581"/>
              <a:gd name="connsiteX5" fmla="*/ 3855623 w 6850428"/>
              <a:gd name="connsiteY5" fmla="*/ 262089 h 809581"/>
              <a:gd name="connsiteX6" fmla="*/ 4915628 w 6850428"/>
              <a:gd name="connsiteY6" fmla="*/ 576596 h 809581"/>
              <a:gd name="connsiteX7" fmla="*/ 5538818 w 6850428"/>
              <a:gd name="connsiteY7" fmla="*/ 751322 h 809581"/>
              <a:gd name="connsiteX8" fmla="*/ 6097942 w 6850428"/>
              <a:gd name="connsiteY8" fmla="*/ 809564 h 809581"/>
              <a:gd name="connsiteX9" fmla="*/ 6756077 w 6850428"/>
              <a:gd name="connsiteY9" fmla="*/ 757146 h 809581"/>
              <a:gd name="connsiteX10" fmla="*/ 6831791 w 6850428"/>
              <a:gd name="connsiteY10" fmla="*/ 722201 h 8095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6850428" h="809581">
                <a:moveTo>
                  <a:pt x="0" y="0"/>
                </a:moveTo>
                <a:cubicBezTo>
                  <a:pt x="107262" y="39313"/>
                  <a:pt x="214525" y="78626"/>
                  <a:pt x="448464" y="99011"/>
                </a:cubicBezTo>
                <a:cubicBezTo>
                  <a:pt x="682403" y="119396"/>
                  <a:pt x="1072624" y="121337"/>
                  <a:pt x="1403633" y="122308"/>
                </a:cubicBezTo>
                <a:cubicBezTo>
                  <a:pt x="1734642" y="123279"/>
                  <a:pt x="2162722" y="103864"/>
                  <a:pt x="2434518" y="104835"/>
                </a:cubicBezTo>
                <a:cubicBezTo>
                  <a:pt x="2706314" y="105806"/>
                  <a:pt x="2797560" y="101923"/>
                  <a:pt x="3034411" y="128132"/>
                </a:cubicBezTo>
                <a:cubicBezTo>
                  <a:pt x="3271262" y="154341"/>
                  <a:pt x="3542087" y="187345"/>
                  <a:pt x="3855623" y="262089"/>
                </a:cubicBezTo>
                <a:cubicBezTo>
                  <a:pt x="4169159" y="336833"/>
                  <a:pt x="4635096" y="495057"/>
                  <a:pt x="4915628" y="576596"/>
                </a:cubicBezTo>
                <a:cubicBezTo>
                  <a:pt x="5196160" y="658135"/>
                  <a:pt x="5341766" y="712494"/>
                  <a:pt x="5538818" y="751322"/>
                </a:cubicBezTo>
                <a:cubicBezTo>
                  <a:pt x="5735870" y="790150"/>
                  <a:pt x="5895066" y="808593"/>
                  <a:pt x="6097942" y="809564"/>
                </a:cubicBezTo>
                <a:cubicBezTo>
                  <a:pt x="6300818" y="810535"/>
                  <a:pt x="6633769" y="771706"/>
                  <a:pt x="6756077" y="757146"/>
                </a:cubicBezTo>
                <a:cubicBezTo>
                  <a:pt x="6878385" y="742586"/>
                  <a:pt x="6855088" y="732393"/>
                  <a:pt x="6831791" y="722201"/>
                </a:cubicBezTo>
              </a:path>
            </a:pathLst>
          </a:custGeom>
          <a:noFill/>
          <a:ln w="101600" cmpd="dbl">
            <a:solidFill>
              <a:srgbClr val="E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E2629163-9E8E-335F-5959-DDD64B1DCE6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344441" y="2725081"/>
            <a:ext cx="2656656" cy="2430558"/>
          </a:xfrm>
          <a:prstGeom prst="rect">
            <a:avLst/>
          </a:prstGeom>
        </p:spPr>
      </p:pic>
      <p:pic>
        <p:nvPicPr>
          <p:cNvPr id="11" name="Grafik 10">
            <a:extLst>
              <a:ext uri="{FF2B5EF4-FFF2-40B4-BE49-F238E27FC236}">
                <a16:creationId xmlns:a16="http://schemas.microsoft.com/office/drawing/2014/main" id="{D04E9ABF-B158-02C7-6098-2791DFB1DA51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782350" y="2615970"/>
            <a:ext cx="2225690" cy="2036270"/>
          </a:xfrm>
          <a:prstGeom prst="rect">
            <a:avLst/>
          </a:prstGeom>
        </p:spPr>
      </p:pic>
      <p:sp>
        <p:nvSpPr>
          <p:cNvPr id="9" name="Rechteck 8">
            <a:extLst>
              <a:ext uri="{FF2B5EF4-FFF2-40B4-BE49-F238E27FC236}">
                <a16:creationId xmlns:a16="http://schemas.microsoft.com/office/drawing/2014/main" id="{5B4F3D3E-C971-8246-6EF5-5C5D08013F94}"/>
              </a:ext>
            </a:extLst>
          </p:cNvPr>
          <p:cNvSpPr/>
          <p:nvPr userDrawn="1"/>
        </p:nvSpPr>
        <p:spPr>
          <a:xfrm>
            <a:off x="6260782" y="2612729"/>
            <a:ext cx="5148868" cy="2542910"/>
          </a:xfrm>
          <a:prstGeom prst="rect">
            <a:avLst/>
          </a:prstGeom>
          <a:solidFill>
            <a:srgbClr val="238A8D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5B72C702-1EFE-A2CC-A8AB-2207020ABD0B}"/>
              </a:ext>
            </a:extLst>
          </p:cNvPr>
          <p:cNvSpPr txBox="1"/>
          <p:nvPr userDrawn="1"/>
        </p:nvSpPr>
        <p:spPr>
          <a:xfrm>
            <a:off x="6308210" y="2836018"/>
            <a:ext cx="5018551" cy="161582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3300" b="1" i="0" dirty="0" smtClean="0">
                <a:solidFill>
                  <a:schemeClr val="bg1"/>
                </a:solidFill>
                <a:latin typeface="Approach Koeln" pitchFamily="2" charset="0"/>
              </a:rPr>
              <a:t>OWA Gespräch mit</a:t>
            </a:r>
            <a:r>
              <a:rPr lang="de-DE" sz="3300" b="1" i="0" baseline="0" dirty="0" smtClean="0">
                <a:solidFill>
                  <a:schemeClr val="bg1"/>
                </a:solidFill>
                <a:latin typeface="Approach Koeln" pitchFamily="2" charset="0"/>
              </a:rPr>
              <a:t> </a:t>
            </a:r>
          </a:p>
          <a:p>
            <a:r>
              <a:rPr lang="de-DE" sz="3300" b="1" i="0" baseline="0" dirty="0" smtClean="0">
                <a:solidFill>
                  <a:schemeClr val="bg1"/>
                </a:solidFill>
                <a:latin typeface="Approach Koeln" pitchFamily="2" charset="0"/>
              </a:rPr>
              <a:t>Bürgern</a:t>
            </a:r>
            <a:r>
              <a:rPr lang="de-DE" sz="3300" b="1" i="0" dirty="0" smtClean="0">
                <a:solidFill>
                  <a:schemeClr val="bg1"/>
                </a:solidFill>
                <a:latin typeface="Approach Koeln" pitchFamily="2" charset="0"/>
              </a:rPr>
              <a:t> Bergisch</a:t>
            </a:r>
            <a:r>
              <a:rPr lang="de-DE" sz="3300" b="1" i="0" baseline="0" dirty="0" smtClean="0">
                <a:solidFill>
                  <a:schemeClr val="bg1"/>
                </a:solidFill>
                <a:latin typeface="Approach Koeln" pitchFamily="2" charset="0"/>
              </a:rPr>
              <a:t> Gladbach</a:t>
            </a:r>
            <a:endParaRPr lang="de-DE" sz="3300" b="1" i="0" dirty="0">
              <a:solidFill>
                <a:schemeClr val="bg1"/>
              </a:solidFill>
              <a:latin typeface="Approach Koeln" pitchFamily="2" charset="0"/>
            </a:endParaRP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288FB1BE-FDBE-0B2F-D622-0702766A7611}"/>
              </a:ext>
            </a:extLst>
          </p:cNvPr>
          <p:cNvSpPr txBox="1"/>
          <p:nvPr userDrawn="1"/>
        </p:nvSpPr>
        <p:spPr>
          <a:xfrm>
            <a:off x="6520578" y="4425479"/>
            <a:ext cx="402581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800" dirty="0">
                <a:solidFill>
                  <a:schemeClr val="bg1"/>
                </a:solidFill>
                <a:latin typeface="Approach Koeln"/>
                <a:cs typeface="Arial"/>
              </a:rPr>
              <a:t>zur Ost-West-Achse </a:t>
            </a:r>
            <a:r>
              <a:rPr lang="de-DE" sz="1800" dirty="0">
                <a:latin typeface="Approach Koeln" pitchFamily="2" charset="0"/>
                <a:cs typeface="Arial" panose="020B0604020202020204" pitchFamily="34" charset="0"/>
              </a:rPr>
              <a:t/>
            </a:r>
            <a:br>
              <a:rPr lang="de-DE" sz="1800" dirty="0">
                <a:latin typeface="Approach Koeln" pitchFamily="2" charset="0"/>
                <a:cs typeface="Arial" panose="020B0604020202020204" pitchFamily="34" charset="0"/>
              </a:rPr>
            </a:br>
            <a:r>
              <a:rPr lang="de-DE" sz="1800" dirty="0">
                <a:solidFill>
                  <a:schemeClr val="bg1"/>
                </a:solidFill>
                <a:latin typeface="Approach Koeln"/>
                <a:cs typeface="Arial"/>
              </a:rPr>
              <a:t>am </a:t>
            </a:r>
            <a:r>
              <a:rPr lang="de-DE" sz="1800" dirty="0" smtClean="0">
                <a:solidFill>
                  <a:schemeClr val="bg1"/>
                </a:solidFill>
                <a:latin typeface="Approach Koeln"/>
                <a:cs typeface="Arial"/>
              </a:rPr>
              <a:t>12.10.2023</a:t>
            </a:r>
            <a:endParaRPr lang="de-DE" sz="1800" dirty="0">
              <a:solidFill>
                <a:schemeClr val="bg1"/>
              </a:solidFill>
            </a:endParaRPr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50434B93-13FE-238F-363E-FFD11060A38A}"/>
              </a:ext>
            </a:extLst>
          </p:cNvPr>
          <p:cNvSpPr txBox="1"/>
          <p:nvPr userDrawn="1"/>
        </p:nvSpPr>
        <p:spPr>
          <a:xfrm>
            <a:off x="825503" y="6339798"/>
            <a:ext cx="8191781" cy="307777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algn="l"/>
            <a:endParaRPr lang="de-DE" sz="1000" b="0" i="0">
              <a:solidFill>
                <a:srgbClr val="FF0000"/>
              </a:solidFill>
              <a:latin typeface="Approach Koeln SemiBold" pitchFamily="2" charset="0"/>
            </a:endParaRPr>
          </a:p>
          <a:p>
            <a:pPr algn="l"/>
            <a:r>
              <a:rPr lang="de-DE" sz="1000" b="0" i="0">
                <a:solidFill>
                  <a:srgbClr val="FF0000"/>
                </a:solidFill>
                <a:latin typeface="Approach Koeln SemiBold" pitchFamily="2" charset="0"/>
              </a:rPr>
              <a:t>Kölner Verkehrs-Betriebe AG</a:t>
            </a:r>
            <a:endParaRPr lang="de-DE" sz="1000" b="0" i="0">
              <a:solidFill>
                <a:srgbClr val="FF0000"/>
              </a:solidFill>
              <a:latin typeface="Approach Koeln" pitchFamily="2" charset="0"/>
            </a:endParaRPr>
          </a:p>
        </p:txBody>
      </p:sp>
      <p:grpSp>
        <p:nvGrpSpPr>
          <p:cNvPr id="15" name="Gruppieren 14">
            <a:extLst>
              <a:ext uri="{FF2B5EF4-FFF2-40B4-BE49-F238E27FC236}">
                <a16:creationId xmlns:a16="http://schemas.microsoft.com/office/drawing/2014/main" id="{18658DB7-D557-E533-B177-EA901B37FB38}"/>
              </a:ext>
            </a:extLst>
          </p:cNvPr>
          <p:cNvGrpSpPr/>
          <p:nvPr userDrawn="1"/>
        </p:nvGrpSpPr>
        <p:grpSpPr>
          <a:xfrm>
            <a:off x="282578" y="210425"/>
            <a:ext cx="2850036" cy="382306"/>
            <a:chOff x="282578" y="210425"/>
            <a:chExt cx="2850036" cy="382306"/>
          </a:xfrm>
        </p:grpSpPr>
        <p:pic>
          <p:nvPicPr>
            <p:cNvPr id="16" name="Grafik 15">
              <a:extLst>
                <a:ext uri="{FF2B5EF4-FFF2-40B4-BE49-F238E27FC236}">
                  <a16:creationId xmlns:a16="http://schemas.microsoft.com/office/drawing/2014/main" id="{D7D6C66E-D91C-131C-72B9-F6E41B55E63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282578" y="210425"/>
              <a:ext cx="1682284" cy="359572"/>
            </a:xfrm>
            <a:prstGeom prst="rect">
              <a:avLst/>
            </a:prstGeom>
          </p:spPr>
        </p:pic>
        <p:pic>
          <p:nvPicPr>
            <p:cNvPr id="17" name="Grafik 16">
              <a:extLst>
                <a:ext uri="{FF2B5EF4-FFF2-40B4-BE49-F238E27FC236}">
                  <a16:creationId xmlns:a16="http://schemas.microsoft.com/office/drawing/2014/main" id="{34A2FE3C-381F-C0AB-8692-96339419109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334943" y="257118"/>
              <a:ext cx="797671" cy="33561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12244638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el 1">
            <a:extLst>
              <a:ext uri="{FF2B5EF4-FFF2-40B4-BE49-F238E27FC236}">
                <a16:creationId xmlns:a16="http://schemas.microsoft.com/office/drawing/2014/main" id="{7F57452E-68C1-83F8-D59E-410B1131A7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49688" y="760895"/>
            <a:ext cx="10803565" cy="392845"/>
          </a:xfrm>
          <a:prstGeom prst="rect">
            <a:avLst/>
          </a:prstGeom>
        </p:spPr>
        <p:txBody>
          <a:bodyPr/>
          <a:lstStyle>
            <a:lvl1pPr>
              <a:defRPr sz="2800" b="1" i="0">
                <a:solidFill>
                  <a:srgbClr val="238A8D"/>
                </a:solidFill>
                <a:latin typeface="Approach Koeln SemiBold" pitchFamily="2" charset="0"/>
              </a:defRPr>
            </a:lvl1pPr>
          </a:lstStyle>
          <a:p>
            <a:r>
              <a:rPr lang="de-DE"/>
              <a:t>Farben</a:t>
            </a:r>
          </a:p>
        </p:txBody>
      </p:sp>
      <p:sp>
        <p:nvSpPr>
          <p:cNvPr id="9" name="Inhaltsplatzhalter 2">
            <a:extLst>
              <a:ext uri="{FF2B5EF4-FFF2-40B4-BE49-F238E27FC236}">
                <a16:creationId xmlns:a16="http://schemas.microsoft.com/office/drawing/2014/main" id="{58D9730B-67F5-B619-F1E0-3D11D74A0B87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749688" y="1889781"/>
            <a:ext cx="10795099" cy="332635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800" b="0" i="0">
                <a:latin typeface="Approach Koeln" pitchFamily="2" charset="0"/>
              </a:defRPr>
            </a:lvl1pPr>
            <a:lvl2pPr marL="366713" indent="0">
              <a:buFontTx/>
              <a:buNone/>
              <a:defRPr sz="1800" b="0" i="0">
                <a:latin typeface="Approach Koeln" pitchFamily="2" charset="0"/>
              </a:defRPr>
            </a:lvl2pPr>
            <a:lvl3pPr marL="714375" indent="0">
              <a:buFontTx/>
              <a:buNone/>
              <a:defRPr sz="1800" b="0" i="0">
                <a:latin typeface="Approach Koeln" pitchFamily="2" charset="0"/>
              </a:defRPr>
            </a:lvl3pPr>
          </a:lstStyle>
          <a:p>
            <a:pPr lvl="0"/>
            <a:r>
              <a:rPr lang="de-DE"/>
              <a:t>Primärfarben</a:t>
            </a:r>
          </a:p>
        </p:txBody>
      </p:sp>
      <p:sp>
        <p:nvSpPr>
          <p:cNvPr id="10" name="Titel 1">
            <a:extLst>
              <a:ext uri="{FF2B5EF4-FFF2-40B4-BE49-F238E27FC236}">
                <a16:creationId xmlns:a16="http://schemas.microsoft.com/office/drawing/2014/main" id="{1B763A05-4DB2-855F-44E4-5FD0DA790753}"/>
              </a:ext>
            </a:extLst>
          </p:cNvPr>
          <p:cNvSpPr txBox="1">
            <a:spLocks/>
          </p:cNvSpPr>
          <p:nvPr userDrawn="1"/>
        </p:nvSpPr>
        <p:spPr>
          <a:xfrm>
            <a:off x="749688" y="1165851"/>
            <a:ext cx="10803565" cy="392845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i="0" kern="1200">
                <a:solidFill>
                  <a:srgbClr val="EF0000"/>
                </a:solidFill>
                <a:latin typeface="Approach Koeln SemiBold" pitchFamily="2" charset="0"/>
                <a:ea typeface="+mj-ea"/>
                <a:cs typeface="+mj-cs"/>
              </a:defRPr>
            </a:lvl1pPr>
          </a:lstStyle>
          <a:p>
            <a:pPr fontAlgn="auto">
              <a:spcAft>
                <a:spcPts val="0"/>
              </a:spcAft>
            </a:pPr>
            <a:r>
              <a:rPr lang="de-DE" b="0" i="0">
                <a:solidFill>
                  <a:srgbClr val="238A8D"/>
                </a:solidFill>
                <a:latin typeface="Approach Koeln" pitchFamily="2" charset="0"/>
              </a:rPr>
              <a:t>Primär- und Sekundärfarben</a:t>
            </a: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06AAD675-A52B-627F-41C4-EDA93189D181}"/>
              </a:ext>
            </a:extLst>
          </p:cNvPr>
          <p:cNvSpPr/>
          <p:nvPr userDrawn="1"/>
        </p:nvSpPr>
        <p:spPr>
          <a:xfrm>
            <a:off x="839788" y="4002771"/>
            <a:ext cx="629786" cy="629786"/>
          </a:xfrm>
          <a:prstGeom prst="ellipse">
            <a:avLst/>
          </a:prstGeom>
          <a:solidFill>
            <a:srgbClr val="FF6E1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rgbClr val="FFD200"/>
              </a:solidFill>
            </a:endParaRPr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7128A24D-3582-F0A3-7D07-398FFB1A6540}"/>
              </a:ext>
            </a:extLst>
          </p:cNvPr>
          <p:cNvSpPr/>
          <p:nvPr userDrawn="1"/>
        </p:nvSpPr>
        <p:spPr>
          <a:xfrm>
            <a:off x="1691613" y="4002771"/>
            <a:ext cx="629786" cy="629786"/>
          </a:xfrm>
          <a:prstGeom prst="ellipse">
            <a:avLst/>
          </a:prstGeom>
          <a:solidFill>
            <a:srgbClr val="FFD2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rgbClr val="FFD200"/>
              </a:solidFill>
            </a:endParaRPr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3826368D-C260-C09D-9587-450252CE9036}"/>
              </a:ext>
            </a:extLst>
          </p:cNvPr>
          <p:cNvSpPr/>
          <p:nvPr userDrawn="1"/>
        </p:nvSpPr>
        <p:spPr>
          <a:xfrm>
            <a:off x="2543438" y="4002771"/>
            <a:ext cx="629786" cy="629786"/>
          </a:xfrm>
          <a:prstGeom prst="ellipse">
            <a:avLst/>
          </a:prstGeom>
          <a:solidFill>
            <a:srgbClr val="00D2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rgbClr val="FFD200"/>
              </a:solidFill>
            </a:endParaRPr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387361C9-8197-9556-E708-951D01283728}"/>
              </a:ext>
            </a:extLst>
          </p:cNvPr>
          <p:cNvSpPr/>
          <p:nvPr userDrawn="1"/>
        </p:nvSpPr>
        <p:spPr>
          <a:xfrm>
            <a:off x="3395263" y="4002771"/>
            <a:ext cx="629786" cy="629786"/>
          </a:xfrm>
          <a:prstGeom prst="ellipse">
            <a:avLst/>
          </a:prstGeom>
          <a:solidFill>
            <a:srgbClr val="008CE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rgbClr val="FFD200"/>
              </a:solidFill>
            </a:endParaRPr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D4D251BD-F8BF-C4C8-FCCD-C00D398A324C}"/>
              </a:ext>
            </a:extLst>
          </p:cNvPr>
          <p:cNvSpPr/>
          <p:nvPr userDrawn="1"/>
        </p:nvSpPr>
        <p:spPr>
          <a:xfrm>
            <a:off x="4247088" y="4002771"/>
            <a:ext cx="629786" cy="629786"/>
          </a:xfrm>
          <a:prstGeom prst="ellipse">
            <a:avLst/>
          </a:prstGeom>
          <a:solidFill>
            <a:srgbClr val="873CC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rgbClr val="FFD200"/>
              </a:solidFill>
            </a:endParaRP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A9147D10-50E9-867C-367C-6FF8F0CE36B5}"/>
              </a:ext>
            </a:extLst>
          </p:cNvPr>
          <p:cNvSpPr/>
          <p:nvPr userDrawn="1"/>
        </p:nvSpPr>
        <p:spPr>
          <a:xfrm>
            <a:off x="3395263" y="2282972"/>
            <a:ext cx="629786" cy="629786"/>
          </a:xfrm>
          <a:prstGeom prst="ellipse">
            <a:avLst/>
          </a:prstGeom>
          <a:solidFill>
            <a:srgbClr val="827D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rgbClr val="FFD200"/>
              </a:solidFill>
            </a:endParaRP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383C5535-2B7A-7EE5-2AB5-8E3EB87D023F}"/>
              </a:ext>
            </a:extLst>
          </p:cNvPr>
          <p:cNvSpPr/>
          <p:nvPr userDrawn="1"/>
        </p:nvSpPr>
        <p:spPr>
          <a:xfrm>
            <a:off x="839788" y="2282972"/>
            <a:ext cx="629786" cy="629786"/>
          </a:xfrm>
          <a:prstGeom prst="ellipse">
            <a:avLst/>
          </a:prstGeom>
          <a:solidFill>
            <a:srgbClr val="E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rgbClr val="FFD200"/>
              </a:solidFill>
            </a:endParaRP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A43FBFA1-DE62-1674-405A-45F221D58233}"/>
              </a:ext>
            </a:extLst>
          </p:cNvPr>
          <p:cNvSpPr/>
          <p:nvPr userDrawn="1"/>
        </p:nvSpPr>
        <p:spPr>
          <a:xfrm>
            <a:off x="1691613" y="2282972"/>
            <a:ext cx="629786" cy="629786"/>
          </a:xfrm>
          <a:prstGeom prst="ellipse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rgbClr val="FFD200"/>
              </a:solidFill>
            </a:endParaRP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7A955469-65A6-746B-823F-84BB41F7DE1C}"/>
              </a:ext>
            </a:extLst>
          </p:cNvPr>
          <p:cNvSpPr/>
          <p:nvPr userDrawn="1"/>
        </p:nvSpPr>
        <p:spPr>
          <a:xfrm>
            <a:off x="2543438" y="2282972"/>
            <a:ext cx="629786" cy="629786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rgbClr val="FFD200"/>
              </a:solidFill>
            </a:endParaRPr>
          </a:p>
        </p:txBody>
      </p:sp>
      <p:sp>
        <p:nvSpPr>
          <p:cNvPr id="20" name="Inhaltsplatzhalter 2">
            <a:extLst>
              <a:ext uri="{FF2B5EF4-FFF2-40B4-BE49-F238E27FC236}">
                <a16:creationId xmlns:a16="http://schemas.microsoft.com/office/drawing/2014/main" id="{700B9BF7-8E11-C763-2BFC-6010F68D73C3}"/>
              </a:ext>
            </a:extLst>
          </p:cNvPr>
          <p:cNvSpPr>
            <a:spLocks noGrp="1"/>
          </p:cNvSpPr>
          <p:nvPr>
            <p:ph idx="10" hasCustomPrompt="1"/>
          </p:nvPr>
        </p:nvSpPr>
        <p:spPr>
          <a:xfrm>
            <a:off x="749688" y="3488467"/>
            <a:ext cx="10795099" cy="332635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800" b="0" i="0">
                <a:latin typeface="Approach Koeln" pitchFamily="2" charset="0"/>
              </a:defRPr>
            </a:lvl1pPr>
            <a:lvl2pPr marL="366713" indent="0">
              <a:buFontTx/>
              <a:buNone/>
              <a:defRPr sz="1800" b="0" i="0">
                <a:latin typeface="Approach Koeln" pitchFamily="2" charset="0"/>
              </a:defRPr>
            </a:lvl2pPr>
            <a:lvl3pPr marL="714375" indent="0">
              <a:buFontTx/>
              <a:buNone/>
              <a:defRPr sz="1800" b="0" i="0">
                <a:latin typeface="Approach Koeln" pitchFamily="2" charset="0"/>
              </a:defRPr>
            </a:lvl3pPr>
          </a:lstStyle>
          <a:p>
            <a:pPr lvl="0"/>
            <a:r>
              <a:rPr lang="de-DE"/>
              <a:t>Sekundärfarben</a:t>
            </a:r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AC4B784A-247C-483F-80FD-482F5B518170}"/>
              </a:ext>
            </a:extLst>
          </p:cNvPr>
          <p:cNvSpPr/>
          <p:nvPr userDrawn="1"/>
        </p:nvSpPr>
        <p:spPr>
          <a:xfrm>
            <a:off x="839788" y="4844503"/>
            <a:ext cx="629786" cy="629786"/>
          </a:xfrm>
          <a:prstGeom prst="ellipse">
            <a:avLst/>
          </a:prstGeom>
          <a:solidFill>
            <a:srgbClr val="A5502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rgbClr val="FFD200"/>
              </a:solidFill>
            </a:endParaRPr>
          </a:p>
        </p:txBody>
      </p:sp>
      <p:sp>
        <p:nvSpPr>
          <p:cNvPr id="22" name="Oval 21">
            <a:extLst>
              <a:ext uri="{FF2B5EF4-FFF2-40B4-BE49-F238E27FC236}">
                <a16:creationId xmlns:a16="http://schemas.microsoft.com/office/drawing/2014/main" id="{6973FBB9-A390-7C3C-14BC-BACEBDC4F0AF}"/>
              </a:ext>
            </a:extLst>
          </p:cNvPr>
          <p:cNvSpPr/>
          <p:nvPr userDrawn="1"/>
        </p:nvSpPr>
        <p:spPr>
          <a:xfrm>
            <a:off x="1691613" y="4844503"/>
            <a:ext cx="629786" cy="629786"/>
          </a:xfrm>
          <a:prstGeom prst="ellipse">
            <a:avLst/>
          </a:prstGeom>
          <a:solidFill>
            <a:srgbClr val="AF912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rgbClr val="FFD200"/>
              </a:solidFill>
            </a:endParaRPr>
          </a:p>
        </p:txBody>
      </p:sp>
      <p:sp>
        <p:nvSpPr>
          <p:cNvPr id="23" name="Oval 22">
            <a:extLst>
              <a:ext uri="{FF2B5EF4-FFF2-40B4-BE49-F238E27FC236}">
                <a16:creationId xmlns:a16="http://schemas.microsoft.com/office/drawing/2014/main" id="{12CEBAC9-C857-BFDE-ADF9-0484A0CF478C}"/>
              </a:ext>
            </a:extLst>
          </p:cNvPr>
          <p:cNvSpPr/>
          <p:nvPr userDrawn="1"/>
        </p:nvSpPr>
        <p:spPr>
          <a:xfrm>
            <a:off x="2543438" y="4844503"/>
            <a:ext cx="629786" cy="629786"/>
          </a:xfrm>
          <a:prstGeom prst="ellipse">
            <a:avLst/>
          </a:prstGeom>
          <a:solidFill>
            <a:srgbClr val="3C91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rgbClr val="FFD200"/>
              </a:solidFill>
            </a:endParaRPr>
          </a:p>
        </p:txBody>
      </p:sp>
      <p:sp>
        <p:nvSpPr>
          <p:cNvPr id="24" name="Oval 23">
            <a:extLst>
              <a:ext uri="{FF2B5EF4-FFF2-40B4-BE49-F238E27FC236}">
                <a16:creationId xmlns:a16="http://schemas.microsoft.com/office/drawing/2014/main" id="{7A848CB8-8CE8-EFAA-B18E-3F26C6DE51D1}"/>
              </a:ext>
            </a:extLst>
          </p:cNvPr>
          <p:cNvSpPr/>
          <p:nvPr userDrawn="1"/>
        </p:nvSpPr>
        <p:spPr>
          <a:xfrm>
            <a:off x="3395263" y="4844503"/>
            <a:ext cx="629786" cy="629786"/>
          </a:xfrm>
          <a:prstGeom prst="ellipse">
            <a:avLst/>
          </a:prstGeom>
          <a:solidFill>
            <a:srgbClr val="285F8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rgbClr val="FFD200"/>
              </a:solidFill>
            </a:endParaRPr>
          </a:p>
        </p:txBody>
      </p:sp>
      <p:sp>
        <p:nvSpPr>
          <p:cNvPr id="25" name="Oval 24">
            <a:extLst>
              <a:ext uri="{FF2B5EF4-FFF2-40B4-BE49-F238E27FC236}">
                <a16:creationId xmlns:a16="http://schemas.microsoft.com/office/drawing/2014/main" id="{C956BA0F-6CBB-0128-A922-E17BEC67B29B}"/>
              </a:ext>
            </a:extLst>
          </p:cNvPr>
          <p:cNvSpPr/>
          <p:nvPr userDrawn="1"/>
        </p:nvSpPr>
        <p:spPr>
          <a:xfrm>
            <a:off x="4247088" y="4844503"/>
            <a:ext cx="629786" cy="629786"/>
          </a:xfrm>
          <a:prstGeom prst="ellipse">
            <a:avLst/>
          </a:prstGeom>
          <a:solidFill>
            <a:srgbClr val="552D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rgbClr val="FFD200"/>
              </a:solidFill>
            </a:endParaRPr>
          </a:p>
        </p:txBody>
      </p:sp>
      <p:sp>
        <p:nvSpPr>
          <p:cNvPr id="27" name="Oval 26">
            <a:extLst>
              <a:ext uri="{FF2B5EF4-FFF2-40B4-BE49-F238E27FC236}">
                <a16:creationId xmlns:a16="http://schemas.microsoft.com/office/drawing/2014/main" id="{D1708911-B7D2-D4E8-D54F-5A1641CD15AB}"/>
              </a:ext>
            </a:extLst>
          </p:cNvPr>
          <p:cNvSpPr/>
          <p:nvPr userDrawn="1"/>
        </p:nvSpPr>
        <p:spPr>
          <a:xfrm>
            <a:off x="5090840" y="2282972"/>
            <a:ext cx="629786" cy="629786"/>
          </a:xfrm>
          <a:prstGeom prst="ellipse">
            <a:avLst/>
          </a:prstGeom>
          <a:solidFill>
            <a:srgbClr val="DEF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rgbClr val="FFD2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06864851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1">
            <a:extLst>
              <a:ext uri="{FF2B5EF4-FFF2-40B4-BE49-F238E27FC236}">
                <a16:creationId xmlns:a16="http://schemas.microsoft.com/office/drawing/2014/main" id="{4FA1D1D6-D4F9-DB12-C872-5C0871CD55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49688" y="760895"/>
            <a:ext cx="10803565" cy="392845"/>
          </a:xfrm>
          <a:prstGeom prst="rect">
            <a:avLst/>
          </a:prstGeom>
        </p:spPr>
        <p:txBody>
          <a:bodyPr/>
          <a:lstStyle>
            <a:lvl1pPr>
              <a:defRPr sz="2800" b="1" i="0">
                <a:solidFill>
                  <a:srgbClr val="EF0000"/>
                </a:solidFill>
                <a:latin typeface="Approach Koeln SemiBold" pitchFamily="2" charset="0"/>
              </a:defRPr>
            </a:lvl1pPr>
          </a:lstStyle>
          <a:p>
            <a:r>
              <a:rPr lang="de-DE"/>
              <a:t>Störer und Icons</a:t>
            </a:r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D4F784EA-4F53-77FA-CDC7-1729056DD671}"/>
              </a:ext>
            </a:extLst>
          </p:cNvPr>
          <p:cNvSpPr txBox="1">
            <a:spLocks/>
          </p:cNvSpPr>
          <p:nvPr userDrawn="1"/>
        </p:nvSpPr>
        <p:spPr>
          <a:xfrm>
            <a:off x="749688" y="1165851"/>
            <a:ext cx="10803565" cy="392845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i="0" kern="1200">
                <a:solidFill>
                  <a:srgbClr val="EF0000"/>
                </a:solidFill>
                <a:latin typeface="Approach Koeln SemiBold" pitchFamily="2" charset="0"/>
                <a:ea typeface="+mj-ea"/>
                <a:cs typeface="+mj-cs"/>
              </a:defRPr>
            </a:lvl1pPr>
          </a:lstStyle>
          <a:p>
            <a:pPr fontAlgn="auto">
              <a:spcAft>
                <a:spcPts val="0"/>
              </a:spcAft>
            </a:pPr>
            <a:r>
              <a:rPr lang="de-DE" b="0" i="0">
                <a:latin typeface="Approach Koeln" pitchFamily="2" charset="0"/>
              </a:rPr>
              <a:t>Gestaltungselemente</a:t>
            </a:r>
          </a:p>
        </p:txBody>
      </p:sp>
      <p:grpSp>
        <p:nvGrpSpPr>
          <p:cNvPr id="12" name="Gruppieren 11">
            <a:extLst>
              <a:ext uri="{FF2B5EF4-FFF2-40B4-BE49-F238E27FC236}">
                <a16:creationId xmlns:a16="http://schemas.microsoft.com/office/drawing/2014/main" id="{537B8776-1C8C-80A5-EB2A-915DBD6676B7}"/>
              </a:ext>
            </a:extLst>
          </p:cNvPr>
          <p:cNvGrpSpPr/>
          <p:nvPr userDrawn="1"/>
        </p:nvGrpSpPr>
        <p:grpSpPr>
          <a:xfrm>
            <a:off x="839788" y="2186502"/>
            <a:ext cx="1330286" cy="1330286"/>
            <a:chOff x="1059164" y="2973314"/>
            <a:chExt cx="1330286" cy="1330286"/>
          </a:xfrm>
        </p:grpSpPr>
        <p:sp>
          <p:nvSpPr>
            <p:cNvPr id="10" name="Oval 9">
              <a:extLst>
                <a:ext uri="{FF2B5EF4-FFF2-40B4-BE49-F238E27FC236}">
                  <a16:creationId xmlns:a16="http://schemas.microsoft.com/office/drawing/2014/main" id="{D66C5DCA-8FEB-FB84-A2E7-5B57B7BE7567}"/>
                </a:ext>
              </a:extLst>
            </p:cNvPr>
            <p:cNvSpPr/>
            <p:nvPr userDrawn="1"/>
          </p:nvSpPr>
          <p:spPr>
            <a:xfrm>
              <a:off x="1059164" y="2973314"/>
              <a:ext cx="1330286" cy="1330286"/>
            </a:xfrm>
            <a:prstGeom prst="ellipse">
              <a:avLst/>
            </a:prstGeom>
            <a:solidFill>
              <a:srgbClr val="FF6E1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rgbClr val="FFD200"/>
                </a:solidFill>
              </a:endParaRPr>
            </a:p>
          </p:txBody>
        </p:sp>
        <p:sp>
          <p:nvSpPr>
            <p:cNvPr id="11" name="Textfeld 10">
              <a:extLst>
                <a:ext uri="{FF2B5EF4-FFF2-40B4-BE49-F238E27FC236}">
                  <a16:creationId xmlns:a16="http://schemas.microsoft.com/office/drawing/2014/main" id="{5C26DC62-763C-A46C-E21F-3405DBB08481}"/>
                </a:ext>
              </a:extLst>
            </p:cNvPr>
            <p:cNvSpPr txBox="1"/>
            <p:nvPr userDrawn="1"/>
          </p:nvSpPr>
          <p:spPr>
            <a:xfrm rot="-600000">
              <a:off x="1099665" y="3303180"/>
              <a:ext cx="1249284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de-DE" sz="1800" b="1" i="0">
                  <a:solidFill>
                    <a:schemeClr val="bg1"/>
                  </a:solidFill>
                  <a:latin typeface="Approach Koeln" pitchFamily="2" charset="0"/>
                </a:rPr>
                <a:t>Dies ist </a:t>
              </a:r>
              <a:br>
                <a:rPr lang="de-DE" sz="1800" b="1" i="0">
                  <a:solidFill>
                    <a:schemeClr val="bg1"/>
                  </a:solidFill>
                  <a:latin typeface="Approach Koeln" pitchFamily="2" charset="0"/>
                </a:rPr>
              </a:br>
              <a:r>
                <a:rPr lang="de-DE" sz="1800" b="1" i="0">
                  <a:solidFill>
                    <a:schemeClr val="bg1"/>
                  </a:solidFill>
                  <a:latin typeface="Approach Koeln" pitchFamily="2" charset="0"/>
                </a:rPr>
                <a:t>ein Störer</a:t>
              </a:r>
            </a:p>
          </p:txBody>
        </p:sp>
      </p:grpSp>
      <p:pic>
        <p:nvPicPr>
          <p:cNvPr id="95" name="Grafik 94">
            <a:extLst>
              <a:ext uri="{FF2B5EF4-FFF2-40B4-BE49-F238E27FC236}">
                <a16:creationId xmlns:a16="http://schemas.microsoft.com/office/drawing/2014/main" id="{C8272BD0-6F8C-56A6-87BE-C939DD8EBFC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757718" y="3867350"/>
            <a:ext cx="1790700" cy="1638300"/>
          </a:xfrm>
          <a:prstGeom prst="rect">
            <a:avLst/>
          </a:prstGeom>
        </p:spPr>
      </p:pic>
      <p:pic>
        <p:nvPicPr>
          <p:cNvPr id="97" name="Grafik 96">
            <a:extLst>
              <a:ext uri="{FF2B5EF4-FFF2-40B4-BE49-F238E27FC236}">
                <a16:creationId xmlns:a16="http://schemas.microsoft.com/office/drawing/2014/main" id="{80F94071-7184-EE83-D821-0133DBB06AB4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5185808" y="3867350"/>
            <a:ext cx="1790700" cy="1638300"/>
          </a:xfrm>
          <a:prstGeom prst="rect">
            <a:avLst/>
          </a:prstGeom>
        </p:spPr>
      </p:pic>
      <p:pic>
        <p:nvPicPr>
          <p:cNvPr id="99" name="Grafik 98">
            <a:extLst>
              <a:ext uri="{FF2B5EF4-FFF2-40B4-BE49-F238E27FC236}">
                <a16:creationId xmlns:a16="http://schemas.microsoft.com/office/drawing/2014/main" id="{C1A5C682-3331-829C-5EDE-EE191D7973AE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6471763" y="3867350"/>
            <a:ext cx="1790700" cy="1638300"/>
          </a:xfrm>
          <a:prstGeom prst="rect">
            <a:avLst/>
          </a:prstGeom>
        </p:spPr>
      </p:pic>
      <p:pic>
        <p:nvPicPr>
          <p:cNvPr id="101" name="Grafik 100">
            <a:extLst>
              <a:ext uri="{FF2B5EF4-FFF2-40B4-BE49-F238E27FC236}">
                <a16:creationId xmlns:a16="http://schemas.microsoft.com/office/drawing/2014/main" id="{DD4B02A2-5514-E6F2-7D5C-56982537E7B5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612445" y="3867350"/>
            <a:ext cx="1790700" cy="1638300"/>
          </a:xfrm>
          <a:prstGeom prst="rect">
            <a:avLst/>
          </a:prstGeom>
        </p:spPr>
      </p:pic>
      <p:pic>
        <p:nvPicPr>
          <p:cNvPr id="103" name="Grafik 102">
            <a:extLst>
              <a:ext uri="{FF2B5EF4-FFF2-40B4-BE49-F238E27FC236}">
                <a16:creationId xmlns:a16="http://schemas.microsoft.com/office/drawing/2014/main" id="{08D3FD73-EE20-3529-11AF-7D3339E1B764}"/>
              </a:ext>
            </a:extLst>
          </p:cNvPr>
          <p:cNvPicPr>
            <a:picLocks noChangeAspect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2585487" y="3867350"/>
            <a:ext cx="1790700" cy="1638300"/>
          </a:xfrm>
          <a:prstGeom prst="rect">
            <a:avLst/>
          </a:prstGeom>
        </p:spPr>
      </p:pic>
      <p:pic>
        <p:nvPicPr>
          <p:cNvPr id="105" name="Grafik 104">
            <a:extLst>
              <a:ext uri="{FF2B5EF4-FFF2-40B4-BE49-F238E27FC236}">
                <a16:creationId xmlns:a16="http://schemas.microsoft.com/office/drawing/2014/main" id="{06493FF5-1595-CB37-7DF3-F3063E03DAF8}"/>
              </a:ext>
            </a:extLst>
          </p:cNvPr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3793750" y="3867350"/>
            <a:ext cx="1790700" cy="1638300"/>
          </a:xfrm>
          <a:prstGeom prst="rect">
            <a:avLst/>
          </a:prstGeom>
        </p:spPr>
      </p:pic>
      <p:pic>
        <p:nvPicPr>
          <p:cNvPr id="107" name="Grafik 106">
            <a:extLst>
              <a:ext uri="{FF2B5EF4-FFF2-40B4-BE49-F238E27FC236}">
                <a16:creationId xmlns:a16="http://schemas.microsoft.com/office/drawing/2014/main" id="{9C4EAB33-F244-9BE5-1AF2-97DF7E4926AA}"/>
              </a:ext>
            </a:extLst>
          </p:cNvPr>
          <p:cNvPicPr>
            <a:picLocks noChangeAspect="1"/>
          </p:cNvPicPr>
          <p:nvPr userDrawn="1"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326490" y="3867350"/>
            <a:ext cx="1790700" cy="1638300"/>
          </a:xfrm>
          <a:prstGeom prst="rect">
            <a:avLst/>
          </a:prstGeom>
        </p:spPr>
      </p:pic>
      <p:grpSp>
        <p:nvGrpSpPr>
          <p:cNvPr id="113" name="Gruppieren 112">
            <a:extLst>
              <a:ext uri="{FF2B5EF4-FFF2-40B4-BE49-F238E27FC236}">
                <a16:creationId xmlns:a16="http://schemas.microsoft.com/office/drawing/2014/main" id="{A3B9204E-0AA4-E480-1697-3A975DC5C474}"/>
              </a:ext>
            </a:extLst>
          </p:cNvPr>
          <p:cNvGrpSpPr/>
          <p:nvPr userDrawn="1"/>
        </p:nvGrpSpPr>
        <p:grpSpPr>
          <a:xfrm>
            <a:off x="3480837" y="2317027"/>
            <a:ext cx="2077385" cy="1442858"/>
            <a:chOff x="6577835" y="1187025"/>
            <a:chExt cx="4502102" cy="3126959"/>
          </a:xfrm>
        </p:grpSpPr>
        <p:sp>
          <p:nvSpPr>
            <p:cNvPr id="108" name="Rechteck 107">
              <a:extLst>
                <a:ext uri="{FF2B5EF4-FFF2-40B4-BE49-F238E27FC236}">
                  <a16:creationId xmlns:a16="http://schemas.microsoft.com/office/drawing/2014/main" id="{3AF9DF44-28F5-71E8-9BF6-A096879E7F0D}"/>
                </a:ext>
              </a:extLst>
            </p:cNvPr>
            <p:cNvSpPr/>
            <p:nvPr userDrawn="1"/>
          </p:nvSpPr>
          <p:spPr>
            <a:xfrm>
              <a:off x="6577835" y="1187025"/>
              <a:ext cx="4502102" cy="2484612"/>
            </a:xfrm>
            <a:prstGeom prst="rect">
              <a:avLst/>
            </a:prstGeom>
            <a:solidFill>
              <a:srgbClr val="238A8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12" name="Rechtwinkliges Dreieck 111">
              <a:extLst>
                <a:ext uri="{FF2B5EF4-FFF2-40B4-BE49-F238E27FC236}">
                  <a16:creationId xmlns:a16="http://schemas.microsoft.com/office/drawing/2014/main" id="{73ADF295-112A-A248-22B8-44A2D62E76AC}"/>
                </a:ext>
              </a:extLst>
            </p:cNvPr>
            <p:cNvSpPr/>
            <p:nvPr userDrawn="1"/>
          </p:nvSpPr>
          <p:spPr>
            <a:xfrm flipV="1">
              <a:off x="9427185" y="3260303"/>
              <a:ext cx="1053680" cy="1053681"/>
            </a:xfrm>
            <a:prstGeom prst="rtTriangle">
              <a:avLst/>
            </a:prstGeom>
            <a:solidFill>
              <a:srgbClr val="238A8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sp>
        <p:nvSpPr>
          <p:cNvPr id="114" name="Gefaltete Ecke 16">
            <a:extLst>
              <a:ext uri="{FF2B5EF4-FFF2-40B4-BE49-F238E27FC236}">
                <a16:creationId xmlns:a16="http://schemas.microsoft.com/office/drawing/2014/main" id="{D0AF83C8-E19C-E123-4C2D-90925FEB82C7}"/>
              </a:ext>
            </a:extLst>
          </p:cNvPr>
          <p:cNvSpPr/>
          <p:nvPr userDrawn="1"/>
        </p:nvSpPr>
        <p:spPr>
          <a:xfrm>
            <a:off x="6783714" y="2210617"/>
            <a:ext cx="1948007" cy="1359282"/>
          </a:xfrm>
          <a:prstGeom prst="foldedCorner">
            <a:avLst>
              <a:gd name="adj" fmla="val 0"/>
            </a:avLst>
          </a:prstGeom>
          <a:solidFill>
            <a:srgbClr val="A8D6EE"/>
          </a:solidFill>
          <a:ln>
            <a:noFill/>
          </a:ln>
          <a:effectLst>
            <a:outerShdw blurRad="270149" sx="101000" sy="101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t"/>
          <a:lstStyle/>
          <a:p>
            <a:pPr marL="0" indent="0">
              <a:buNone/>
            </a:pPr>
            <a:endParaRPr lang="de-DE" sz="160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5" name="Gefaltete Ecke 16">
            <a:extLst>
              <a:ext uri="{FF2B5EF4-FFF2-40B4-BE49-F238E27FC236}">
                <a16:creationId xmlns:a16="http://schemas.microsoft.com/office/drawing/2014/main" id="{D31D95ED-47ED-B2FE-1C99-B88B7BBA939C}"/>
              </a:ext>
            </a:extLst>
          </p:cNvPr>
          <p:cNvSpPr/>
          <p:nvPr userDrawn="1"/>
        </p:nvSpPr>
        <p:spPr>
          <a:xfrm>
            <a:off x="9197858" y="2210617"/>
            <a:ext cx="1948007" cy="1359282"/>
          </a:xfrm>
          <a:prstGeom prst="foldedCorner">
            <a:avLst>
              <a:gd name="adj" fmla="val 27167"/>
            </a:avLst>
          </a:prstGeom>
          <a:solidFill>
            <a:srgbClr val="A8D6EE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t"/>
          <a:lstStyle/>
          <a:p>
            <a:pPr marL="0" indent="0">
              <a:buNone/>
            </a:pPr>
            <a:endParaRPr lang="de-DE" sz="160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6" name="Rectangle 6">
            <a:extLst>
              <a:ext uri="{FF2B5EF4-FFF2-40B4-BE49-F238E27FC236}">
                <a16:creationId xmlns:a16="http://schemas.microsoft.com/office/drawing/2014/main" id="{866B4463-61A3-E152-E3C9-56DE15A56499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366497" y="6493687"/>
            <a:ext cx="554639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defPPr>
              <a:defRPr lang="de-DE"/>
            </a:defPPr>
            <a:lvl1pPr algn="r" defTabSz="881063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4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4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4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4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9pPr>
          </a:lstStyle>
          <a:p>
            <a:r>
              <a:rPr lang="de-DE" sz="1000">
                <a:solidFill>
                  <a:srgbClr val="EF0000"/>
                </a:solidFill>
                <a:latin typeface="Approach Koeln" pitchFamily="2" charset="0"/>
              </a:rPr>
              <a:t>Folie </a:t>
            </a:r>
            <a:fld id="{52E4B4D7-5B28-445D-82E9-F0929806F258}" type="slidenum">
              <a:rPr lang="de-DE" sz="1000" smtClean="0">
                <a:solidFill>
                  <a:srgbClr val="EF0000"/>
                </a:solidFill>
                <a:latin typeface="Approach Koeln" pitchFamily="2" charset="0"/>
              </a:rPr>
              <a:pPr/>
              <a:t>‹Nr.›</a:t>
            </a:fld>
            <a:endParaRPr lang="de-DE" sz="1000">
              <a:solidFill>
                <a:srgbClr val="EF0000"/>
              </a:solidFill>
              <a:latin typeface="Approach Koeln" pitchFamily="2" charset="0"/>
            </a:endParaRPr>
          </a:p>
        </p:txBody>
      </p:sp>
      <p:sp>
        <p:nvSpPr>
          <p:cNvPr id="117" name="Freihandform 116">
            <a:extLst>
              <a:ext uri="{FF2B5EF4-FFF2-40B4-BE49-F238E27FC236}">
                <a16:creationId xmlns:a16="http://schemas.microsoft.com/office/drawing/2014/main" id="{8C2EC2C9-FDC1-0B95-89F3-CE42926AF45F}"/>
              </a:ext>
            </a:extLst>
          </p:cNvPr>
          <p:cNvSpPr/>
          <p:nvPr userDrawn="1"/>
        </p:nvSpPr>
        <p:spPr>
          <a:xfrm flipV="1">
            <a:off x="839788" y="5645946"/>
            <a:ext cx="11081348" cy="358992"/>
          </a:xfrm>
          <a:custGeom>
            <a:avLst/>
            <a:gdLst>
              <a:gd name="connsiteX0" fmla="*/ 0 w 8426245"/>
              <a:gd name="connsiteY0" fmla="*/ 766916 h 800526"/>
              <a:gd name="connsiteX1" fmla="*/ 1995948 w 8426245"/>
              <a:gd name="connsiteY1" fmla="*/ 550607 h 800526"/>
              <a:gd name="connsiteX2" fmla="*/ 3234813 w 8426245"/>
              <a:gd name="connsiteY2" fmla="*/ 619432 h 800526"/>
              <a:gd name="connsiteX3" fmla="*/ 4395019 w 8426245"/>
              <a:gd name="connsiteY3" fmla="*/ 324465 h 800526"/>
              <a:gd name="connsiteX4" fmla="*/ 7256206 w 8426245"/>
              <a:gd name="connsiteY4" fmla="*/ 796413 h 800526"/>
              <a:gd name="connsiteX5" fmla="*/ 8426245 w 8426245"/>
              <a:gd name="connsiteY5" fmla="*/ 0 h 800526"/>
              <a:gd name="connsiteX0" fmla="*/ 0 w 8426245"/>
              <a:gd name="connsiteY0" fmla="*/ 766916 h 1063486"/>
              <a:gd name="connsiteX1" fmla="*/ 1927767 w 8426245"/>
              <a:gd name="connsiteY1" fmla="*/ 1062436 h 1063486"/>
              <a:gd name="connsiteX2" fmla="*/ 3234813 w 8426245"/>
              <a:gd name="connsiteY2" fmla="*/ 619432 h 1063486"/>
              <a:gd name="connsiteX3" fmla="*/ 4395019 w 8426245"/>
              <a:gd name="connsiteY3" fmla="*/ 324465 h 1063486"/>
              <a:gd name="connsiteX4" fmla="*/ 7256206 w 8426245"/>
              <a:gd name="connsiteY4" fmla="*/ 796413 h 1063486"/>
              <a:gd name="connsiteX5" fmla="*/ 8426245 w 8426245"/>
              <a:gd name="connsiteY5" fmla="*/ 0 h 1063486"/>
              <a:gd name="connsiteX0" fmla="*/ 0 w 8421984"/>
              <a:gd name="connsiteY0" fmla="*/ 1029565 h 1077169"/>
              <a:gd name="connsiteX1" fmla="*/ 1923506 w 8421984"/>
              <a:gd name="connsiteY1" fmla="*/ 1062436 h 1077169"/>
              <a:gd name="connsiteX2" fmla="*/ 3230552 w 8421984"/>
              <a:gd name="connsiteY2" fmla="*/ 619432 h 1077169"/>
              <a:gd name="connsiteX3" fmla="*/ 4390758 w 8421984"/>
              <a:gd name="connsiteY3" fmla="*/ 324465 h 1077169"/>
              <a:gd name="connsiteX4" fmla="*/ 7251945 w 8421984"/>
              <a:gd name="connsiteY4" fmla="*/ 796413 h 1077169"/>
              <a:gd name="connsiteX5" fmla="*/ 8421984 w 8421984"/>
              <a:gd name="connsiteY5" fmla="*/ 0 h 1077169"/>
              <a:gd name="connsiteX0" fmla="*/ 0 w 8421984"/>
              <a:gd name="connsiteY0" fmla="*/ 1029565 h 1063628"/>
              <a:gd name="connsiteX1" fmla="*/ 1923506 w 8421984"/>
              <a:gd name="connsiteY1" fmla="*/ 1062436 h 1063628"/>
              <a:gd name="connsiteX2" fmla="*/ 3004703 w 8421984"/>
              <a:gd name="connsiteY2" fmla="*/ 935957 h 1063628"/>
              <a:gd name="connsiteX3" fmla="*/ 4390758 w 8421984"/>
              <a:gd name="connsiteY3" fmla="*/ 324465 h 1063628"/>
              <a:gd name="connsiteX4" fmla="*/ 7251945 w 8421984"/>
              <a:gd name="connsiteY4" fmla="*/ 796413 h 1063628"/>
              <a:gd name="connsiteX5" fmla="*/ 8421984 w 8421984"/>
              <a:gd name="connsiteY5" fmla="*/ 0 h 1063628"/>
              <a:gd name="connsiteX0" fmla="*/ 0 w 8421984"/>
              <a:gd name="connsiteY0" fmla="*/ 1029565 h 1063628"/>
              <a:gd name="connsiteX1" fmla="*/ 1923506 w 8421984"/>
              <a:gd name="connsiteY1" fmla="*/ 1062436 h 1063628"/>
              <a:gd name="connsiteX2" fmla="*/ 3004703 w 8421984"/>
              <a:gd name="connsiteY2" fmla="*/ 935957 h 1063628"/>
              <a:gd name="connsiteX3" fmla="*/ 4429110 w 8421984"/>
              <a:gd name="connsiteY3" fmla="*/ 486095 h 1063628"/>
              <a:gd name="connsiteX4" fmla="*/ 7251945 w 8421984"/>
              <a:gd name="connsiteY4" fmla="*/ 796413 h 1063628"/>
              <a:gd name="connsiteX5" fmla="*/ 8421984 w 8421984"/>
              <a:gd name="connsiteY5" fmla="*/ 0 h 1063628"/>
              <a:gd name="connsiteX0" fmla="*/ 0 w 8421984"/>
              <a:gd name="connsiteY0" fmla="*/ 1029565 h 1063628"/>
              <a:gd name="connsiteX1" fmla="*/ 1923506 w 8421984"/>
              <a:gd name="connsiteY1" fmla="*/ 1062436 h 1063628"/>
              <a:gd name="connsiteX2" fmla="*/ 3004703 w 8421984"/>
              <a:gd name="connsiteY2" fmla="*/ 935957 h 1063628"/>
              <a:gd name="connsiteX3" fmla="*/ 4429110 w 8421984"/>
              <a:gd name="connsiteY3" fmla="*/ 486095 h 1063628"/>
              <a:gd name="connsiteX4" fmla="*/ 6744850 w 8421984"/>
              <a:gd name="connsiteY4" fmla="*/ 863759 h 1063628"/>
              <a:gd name="connsiteX5" fmla="*/ 8421984 w 8421984"/>
              <a:gd name="connsiteY5" fmla="*/ 0 h 1063628"/>
              <a:gd name="connsiteX0" fmla="*/ 0 w 8421984"/>
              <a:gd name="connsiteY0" fmla="*/ 1029565 h 1063628"/>
              <a:gd name="connsiteX1" fmla="*/ 1923506 w 8421984"/>
              <a:gd name="connsiteY1" fmla="*/ 1062436 h 1063628"/>
              <a:gd name="connsiteX2" fmla="*/ 3004703 w 8421984"/>
              <a:gd name="connsiteY2" fmla="*/ 935957 h 1063628"/>
              <a:gd name="connsiteX3" fmla="*/ 4429110 w 8421984"/>
              <a:gd name="connsiteY3" fmla="*/ 486095 h 1063628"/>
              <a:gd name="connsiteX4" fmla="*/ 6527524 w 8421984"/>
              <a:gd name="connsiteY4" fmla="*/ 843554 h 1063628"/>
              <a:gd name="connsiteX5" fmla="*/ 8421984 w 8421984"/>
              <a:gd name="connsiteY5" fmla="*/ 0 h 1063628"/>
              <a:gd name="connsiteX0" fmla="*/ 0 w 8421984"/>
              <a:gd name="connsiteY0" fmla="*/ 1029565 h 1063628"/>
              <a:gd name="connsiteX1" fmla="*/ 1923506 w 8421984"/>
              <a:gd name="connsiteY1" fmla="*/ 1062436 h 1063628"/>
              <a:gd name="connsiteX2" fmla="*/ 3004703 w 8421984"/>
              <a:gd name="connsiteY2" fmla="*/ 935957 h 1063628"/>
              <a:gd name="connsiteX3" fmla="*/ 4429110 w 8421984"/>
              <a:gd name="connsiteY3" fmla="*/ 486095 h 1063628"/>
              <a:gd name="connsiteX4" fmla="*/ 6527524 w 8421984"/>
              <a:gd name="connsiteY4" fmla="*/ 843554 h 1063628"/>
              <a:gd name="connsiteX5" fmla="*/ 8421984 w 8421984"/>
              <a:gd name="connsiteY5" fmla="*/ 0 h 1063628"/>
              <a:gd name="connsiteX0" fmla="*/ 0 w 8421984"/>
              <a:gd name="connsiteY0" fmla="*/ 1029565 h 1063628"/>
              <a:gd name="connsiteX1" fmla="*/ 1923506 w 8421984"/>
              <a:gd name="connsiteY1" fmla="*/ 1062436 h 1063628"/>
              <a:gd name="connsiteX2" fmla="*/ 3004703 w 8421984"/>
              <a:gd name="connsiteY2" fmla="*/ 935957 h 1063628"/>
              <a:gd name="connsiteX3" fmla="*/ 4429110 w 8421984"/>
              <a:gd name="connsiteY3" fmla="*/ 486095 h 1063628"/>
              <a:gd name="connsiteX4" fmla="*/ 6599966 w 8421984"/>
              <a:gd name="connsiteY4" fmla="*/ 426009 h 1063628"/>
              <a:gd name="connsiteX5" fmla="*/ 8421984 w 8421984"/>
              <a:gd name="connsiteY5" fmla="*/ 0 h 1063628"/>
              <a:gd name="connsiteX0" fmla="*/ 0 w 8409200"/>
              <a:gd name="connsiteY0" fmla="*/ 657674 h 691737"/>
              <a:gd name="connsiteX1" fmla="*/ 1923506 w 8409200"/>
              <a:gd name="connsiteY1" fmla="*/ 690545 h 691737"/>
              <a:gd name="connsiteX2" fmla="*/ 3004703 w 8409200"/>
              <a:gd name="connsiteY2" fmla="*/ 564066 h 691737"/>
              <a:gd name="connsiteX3" fmla="*/ 4429110 w 8409200"/>
              <a:gd name="connsiteY3" fmla="*/ 114204 h 691737"/>
              <a:gd name="connsiteX4" fmla="*/ 6599966 w 8409200"/>
              <a:gd name="connsiteY4" fmla="*/ 54118 h 691737"/>
              <a:gd name="connsiteX5" fmla="*/ 8409200 w 8409200"/>
              <a:gd name="connsiteY5" fmla="*/ 375650 h 691737"/>
              <a:gd name="connsiteX0" fmla="*/ 0 w 8409200"/>
              <a:gd name="connsiteY0" fmla="*/ 657674 h 691737"/>
              <a:gd name="connsiteX1" fmla="*/ 1923506 w 8409200"/>
              <a:gd name="connsiteY1" fmla="*/ 690545 h 691737"/>
              <a:gd name="connsiteX2" fmla="*/ 3004703 w 8409200"/>
              <a:gd name="connsiteY2" fmla="*/ 564066 h 691737"/>
              <a:gd name="connsiteX3" fmla="*/ 4429110 w 8409200"/>
              <a:gd name="connsiteY3" fmla="*/ 114204 h 691737"/>
              <a:gd name="connsiteX4" fmla="*/ 6599966 w 8409200"/>
              <a:gd name="connsiteY4" fmla="*/ 54118 h 691737"/>
              <a:gd name="connsiteX5" fmla="*/ 8409200 w 8409200"/>
              <a:gd name="connsiteY5" fmla="*/ 375650 h 691737"/>
              <a:gd name="connsiteX0" fmla="*/ 0 w 8409200"/>
              <a:gd name="connsiteY0" fmla="*/ 652525 h 686588"/>
              <a:gd name="connsiteX1" fmla="*/ 1923506 w 8409200"/>
              <a:gd name="connsiteY1" fmla="*/ 685396 h 686588"/>
              <a:gd name="connsiteX2" fmla="*/ 3004703 w 8409200"/>
              <a:gd name="connsiteY2" fmla="*/ 558917 h 686588"/>
              <a:gd name="connsiteX3" fmla="*/ 4429110 w 8409200"/>
              <a:gd name="connsiteY3" fmla="*/ 109055 h 686588"/>
              <a:gd name="connsiteX4" fmla="*/ 6242016 w 8409200"/>
              <a:gd name="connsiteY4" fmla="*/ 55703 h 686588"/>
              <a:gd name="connsiteX5" fmla="*/ 8409200 w 8409200"/>
              <a:gd name="connsiteY5" fmla="*/ 370501 h 686588"/>
              <a:gd name="connsiteX0" fmla="*/ 0 w 8409200"/>
              <a:gd name="connsiteY0" fmla="*/ 652525 h 686588"/>
              <a:gd name="connsiteX1" fmla="*/ 1923506 w 8409200"/>
              <a:gd name="connsiteY1" fmla="*/ 685396 h 686588"/>
              <a:gd name="connsiteX2" fmla="*/ 3004703 w 8409200"/>
              <a:gd name="connsiteY2" fmla="*/ 558917 h 686588"/>
              <a:gd name="connsiteX3" fmla="*/ 4429110 w 8409200"/>
              <a:gd name="connsiteY3" fmla="*/ 109055 h 686588"/>
              <a:gd name="connsiteX4" fmla="*/ 6242016 w 8409200"/>
              <a:gd name="connsiteY4" fmla="*/ 55703 h 686588"/>
              <a:gd name="connsiteX5" fmla="*/ 8409200 w 8409200"/>
              <a:gd name="connsiteY5" fmla="*/ 370501 h 686588"/>
              <a:gd name="connsiteX0" fmla="*/ 0 w 8434768"/>
              <a:gd name="connsiteY0" fmla="*/ 612118 h 685718"/>
              <a:gd name="connsiteX1" fmla="*/ 1949074 w 8434768"/>
              <a:gd name="connsiteY1" fmla="*/ 685396 h 685718"/>
              <a:gd name="connsiteX2" fmla="*/ 3030271 w 8434768"/>
              <a:gd name="connsiteY2" fmla="*/ 558917 h 685718"/>
              <a:gd name="connsiteX3" fmla="*/ 4454678 w 8434768"/>
              <a:gd name="connsiteY3" fmla="*/ 109055 h 685718"/>
              <a:gd name="connsiteX4" fmla="*/ 6267584 w 8434768"/>
              <a:gd name="connsiteY4" fmla="*/ 55703 h 685718"/>
              <a:gd name="connsiteX5" fmla="*/ 8434768 w 8434768"/>
              <a:gd name="connsiteY5" fmla="*/ 370501 h 685718"/>
              <a:gd name="connsiteX0" fmla="*/ 0 w 8434768"/>
              <a:gd name="connsiteY0" fmla="*/ 612118 h 686729"/>
              <a:gd name="connsiteX1" fmla="*/ 1949074 w 8434768"/>
              <a:gd name="connsiteY1" fmla="*/ 685396 h 686729"/>
              <a:gd name="connsiteX2" fmla="*/ 3030271 w 8434768"/>
              <a:gd name="connsiteY2" fmla="*/ 558917 h 686729"/>
              <a:gd name="connsiteX3" fmla="*/ 4454678 w 8434768"/>
              <a:gd name="connsiteY3" fmla="*/ 109055 h 686729"/>
              <a:gd name="connsiteX4" fmla="*/ 6267584 w 8434768"/>
              <a:gd name="connsiteY4" fmla="*/ 55703 h 686729"/>
              <a:gd name="connsiteX5" fmla="*/ 8434768 w 8434768"/>
              <a:gd name="connsiteY5" fmla="*/ 370501 h 686729"/>
              <a:gd name="connsiteX0" fmla="*/ 0 w 8434768"/>
              <a:gd name="connsiteY0" fmla="*/ 612118 h 695661"/>
              <a:gd name="connsiteX1" fmla="*/ 1949074 w 8434768"/>
              <a:gd name="connsiteY1" fmla="*/ 685396 h 695661"/>
              <a:gd name="connsiteX2" fmla="*/ 2025770 w 8434768"/>
              <a:gd name="connsiteY2" fmla="*/ 681437 h 695661"/>
              <a:gd name="connsiteX3" fmla="*/ 3030271 w 8434768"/>
              <a:gd name="connsiteY3" fmla="*/ 558917 h 695661"/>
              <a:gd name="connsiteX4" fmla="*/ 4454678 w 8434768"/>
              <a:gd name="connsiteY4" fmla="*/ 109055 h 695661"/>
              <a:gd name="connsiteX5" fmla="*/ 6267584 w 8434768"/>
              <a:gd name="connsiteY5" fmla="*/ 55703 h 695661"/>
              <a:gd name="connsiteX6" fmla="*/ 8434768 w 8434768"/>
              <a:gd name="connsiteY6" fmla="*/ 370501 h 695661"/>
              <a:gd name="connsiteX0" fmla="*/ 0 w 8434768"/>
              <a:gd name="connsiteY0" fmla="*/ 612118 h 686364"/>
              <a:gd name="connsiteX1" fmla="*/ 1949074 w 8434768"/>
              <a:gd name="connsiteY1" fmla="*/ 685396 h 686364"/>
              <a:gd name="connsiteX2" fmla="*/ 2494514 w 8434768"/>
              <a:gd name="connsiteY2" fmla="*/ 647764 h 686364"/>
              <a:gd name="connsiteX3" fmla="*/ 3030271 w 8434768"/>
              <a:gd name="connsiteY3" fmla="*/ 558917 h 686364"/>
              <a:gd name="connsiteX4" fmla="*/ 4454678 w 8434768"/>
              <a:gd name="connsiteY4" fmla="*/ 109055 h 686364"/>
              <a:gd name="connsiteX5" fmla="*/ 6267584 w 8434768"/>
              <a:gd name="connsiteY5" fmla="*/ 55703 h 686364"/>
              <a:gd name="connsiteX6" fmla="*/ 8434768 w 8434768"/>
              <a:gd name="connsiteY6" fmla="*/ 370501 h 686364"/>
              <a:gd name="connsiteX0" fmla="*/ 0 w 8434768"/>
              <a:gd name="connsiteY0" fmla="*/ 612118 h 679926"/>
              <a:gd name="connsiteX1" fmla="*/ 1552773 w 8434768"/>
              <a:gd name="connsiteY1" fmla="*/ 678661 h 679926"/>
              <a:gd name="connsiteX2" fmla="*/ 2494514 w 8434768"/>
              <a:gd name="connsiteY2" fmla="*/ 647764 h 679926"/>
              <a:gd name="connsiteX3" fmla="*/ 3030271 w 8434768"/>
              <a:gd name="connsiteY3" fmla="*/ 558917 h 679926"/>
              <a:gd name="connsiteX4" fmla="*/ 4454678 w 8434768"/>
              <a:gd name="connsiteY4" fmla="*/ 109055 h 679926"/>
              <a:gd name="connsiteX5" fmla="*/ 6267584 w 8434768"/>
              <a:gd name="connsiteY5" fmla="*/ 55703 h 679926"/>
              <a:gd name="connsiteX6" fmla="*/ 8434768 w 8434768"/>
              <a:gd name="connsiteY6" fmla="*/ 370501 h 679926"/>
              <a:gd name="connsiteX0" fmla="*/ 0 w 8434768"/>
              <a:gd name="connsiteY0" fmla="*/ 612118 h 679926"/>
              <a:gd name="connsiteX1" fmla="*/ 1552773 w 8434768"/>
              <a:gd name="connsiteY1" fmla="*/ 678661 h 679926"/>
              <a:gd name="connsiteX2" fmla="*/ 2494514 w 8434768"/>
              <a:gd name="connsiteY2" fmla="*/ 647764 h 679926"/>
              <a:gd name="connsiteX3" fmla="*/ 3008964 w 8434768"/>
              <a:gd name="connsiteY3" fmla="*/ 558917 h 679926"/>
              <a:gd name="connsiteX4" fmla="*/ 4454678 w 8434768"/>
              <a:gd name="connsiteY4" fmla="*/ 109055 h 679926"/>
              <a:gd name="connsiteX5" fmla="*/ 6267584 w 8434768"/>
              <a:gd name="connsiteY5" fmla="*/ 55703 h 679926"/>
              <a:gd name="connsiteX6" fmla="*/ 8434768 w 8434768"/>
              <a:gd name="connsiteY6" fmla="*/ 370501 h 679926"/>
              <a:gd name="connsiteX0" fmla="*/ 0 w 8434768"/>
              <a:gd name="connsiteY0" fmla="*/ 612118 h 679926"/>
              <a:gd name="connsiteX1" fmla="*/ 1552773 w 8434768"/>
              <a:gd name="connsiteY1" fmla="*/ 678661 h 679926"/>
              <a:gd name="connsiteX2" fmla="*/ 2494514 w 8434768"/>
              <a:gd name="connsiteY2" fmla="*/ 647764 h 679926"/>
              <a:gd name="connsiteX3" fmla="*/ 3008964 w 8434768"/>
              <a:gd name="connsiteY3" fmla="*/ 558917 h 679926"/>
              <a:gd name="connsiteX4" fmla="*/ 4454678 w 8434768"/>
              <a:gd name="connsiteY4" fmla="*/ 109055 h 679926"/>
              <a:gd name="connsiteX5" fmla="*/ 6267584 w 8434768"/>
              <a:gd name="connsiteY5" fmla="*/ 55703 h 679926"/>
              <a:gd name="connsiteX6" fmla="*/ 8434768 w 8434768"/>
              <a:gd name="connsiteY6" fmla="*/ 370501 h 679926"/>
              <a:gd name="connsiteX0" fmla="*/ 0 w 8434768"/>
              <a:gd name="connsiteY0" fmla="*/ 612118 h 703053"/>
              <a:gd name="connsiteX1" fmla="*/ 1552773 w 8434768"/>
              <a:gd name="connsiteY1" fmla="*/ 678661 h 703053"/>
              <a:gd name="connsiteX2" fmla="*/ 2045868 w 8434768"/>
              <a:gd name="connsiteY2" fmla="*/ 694588 h 703053"/>
              <a:gd name="connsiteX3" fmla="*/ 3008964 w 8434768"/>
              <a:gd name="connsiteY3" fmla="*/ 558917 h 703053"/>
              <a:gd name="connsiteX4" fmla="*/ 4454678 w 8434768"/>
              <a:gd name="connsiteY4" fmla="*/ 109055 h 703053"/>
              <a:gd name="connsiteX5" fmla="*/ 6267584 w 8434768"/>
              <a:gd name="connsiteY5" fmla="*/ 55703 h 703053"/>
              <a:gd name="connsiteX6" fmla="*/ 8434768 w 8434768"/>
              <a:gd name="connsiteY6" fmla="*/ 370501 h 703053"/>
              <a:gd name="connsiteX0" fmla="*/ 0 w 8434768"/>
              <a:gd name="connsiteY0" fmla="*/ 612118 h 678661"/>
              <a:gd name="connsiteX1" fmla="*/ 1552773 w 8434768"/>
              <a:gd name="connsiteY1" fmla="*/ 678661 h 678661"/>
              <a:gd name="connsiteX2" fmla="*/ 2117821 w 8434768"/>
              <a:gd name="connsiteY2" fmla="*/ 667831 h 678661"/>
              <a:gd name="connsiteX3" fmla="*/ 3008964 w 8434768"/>
              <a:gd name="connsiteY3" fmla="*/ 558917 h 678661"/>
              <a:gd name="connsiteX4" fmla="*/ 4454678 w 8434768"/>
              <a:gd name="connsiteY4" fmla="*/ 109055 h 678661"/>
              <a:gd name="connsiteX5" fmla="*/ 6267584 w 8434768"/>
              <a:gd name="connsiteY5" fmla="*/ 55703 h 678661"/>
              <a:gd name="connsiteX6" fmla="*/ 8434768 w 8434768"/>
              <a:gd name="connsiteY6" fmla="*/ 370501 h 678661"/>
              <a:gd name="connsiteX0" fmla="*/ 0 w 8434768"/>
              <a:gd name="connsiteY0" fmla="*/ 576679 h 643222"/>
              <a:gd name="connsiteX1" fmla="*/ 1552773 w 8434768"/>
              <a:gd name="connsiteY1" fmla="*/ 643222 h 643222"/>
              <a:gd name="connsiteX2" fmla="*/ 2117821 w 8434768"/>
              <a:gd name="connsiteY2" fmla="*/ 632392 h 643222"/>
              <a:gd name="connsiteX3" fmla="*/ 3008964 w 8434768"/>
              <a:gd name="connsiteY3" fmla="*/ 523478 h 643222"/>
              <a:gd name="connsiteX4" fmla="*/ 4454678 w 8434768"/>
              <a:gd name="connsiteY4" fmla="*/ 73616 h 643222"/>
              <a:gd name="connsiteX5" fmla="*/ 6149074 w 8434768"/>
              <a:gd name="connsiteY5" fmla="*/ 70638 h 643222"/>
              <a:gd name="connsiteX6" fmla="*/ 8434768 w 8434768"/>
              <a:gd name="connsiteY6" fmla="*/ 335062 h 643222"/>
              <a:gd name="connsiteX0" fmla="*/ 0 w 8434768"/>
              <a:gd name="connsiteY0" fmla="*/ 576679 h 643222"/>
              <a:gd name="connsiteX1" fmla="*/ 1552773 w 8434768"/>
              <a:gd name="connsiteY1" fmla="*/ 643222 h 643222"/>
              <a:gd name="connsiteX2" fmla="*/ 2117821 w 8434768"/>
              <a:gd name="connsiteY2" fmla="*/ 632392 h 643222"/>
              <a:gd name="connsiteX3" fmla="*/ 3008964 w 8434768"/>
              <a:gd name="connsiteY3" fmla="*/ 523478 h 643222"/>
              <a:gd name="connsiteX4" fmla="*/ 4454678 w 8434768"/>
              <a:gd name="connsiteY4" fmla="*/ 73616 h 643222"/>
              <a:gd name="connsiteX5" fmla="*/ 6149074 w 8434768"/>
              <a:gd name="connsiteY5" fmla="*/ 70638 h 643222"/>
              <a:gd name="connsiteX6" fmla="*/ 8434768 w 8434768"/>
              <a:gd name="connsiteY6" fmla="*/ 335062 h 643222"/>
              <a:gd name="connsiteX0" fmla="*/ 0 w 8434768"/>
              <a:gd name="connsiteY0" fmla="*/ 638261 h 704804"/>
              <a:gd name="connsiteX1" fmla="*/ 1552773 w 8434768"/>
              <a:gd name="connsiteY1" fmla="*/ 704804 h 704804"/>
              <a:gd name="connsiteX2" fmla="*/ 2117821 w 8434768"/>
              <a:gd name="connsiteY2" fmla="*/ 693974 h 704804"/>
              <a:gd name="connsiteX3" fmla="*/ 3008964 w 8434768"/>
              <a:gd name="connsiteY3" fmla="*/ 585060 h 704804"/>
              <a:gd name="connsiteX4" fmla="*/ 4454678 w 8434768"/>
              <a:gd name="connsiteY4" fmla="*/ 135198 h 704804"/>
              <a:gd name="connsiteX5" fmla="*/ 6149074 w 8434768"/>
              <a:gd name="connsiteY5" fmla="*/ 132220 h 704804"/>
              <a:gd name="connsiteX6" fmla="*/ 8434768 w 8434768"/>
              <a:gd name="connsiteY6" fmla="*/ 396644 h 704804"/>
              <a:gd name="connsiteX0" fmla="*/ 0 w 8434768"/>
              <a:gd name="connsiteY0" fmla="*/ 594596 h 661139"/>
              <a:gd name="connsiteX1" fmla="*/ 1552773 w 8434768"/>
              <a:gd name="connsiteY1" fmla="*/ 661139 h 661139"/>
              <a:gd name="connsiteX2" fmla="*/ 2117821 w 8434768"/>
              <a:gd name="connsiteY2" fmla="*/ 650309 h 661139"/>
              <a:gd name="connsiteX3" fmla="*/ 3008964 w 8434768"/>
              <a:gd name="connsiteY3" fmla="*/ 541395 h 661139"/>
              <a:gd name="connsiteX4" fmla="*/ 4454678 w 8434768"/>
              <a:gd name="connsiteY4" fmla="*/ 91533 h 661139"/>
              <a:gd name="connsiteX5" fmla="*/ 6149074 w 8434768"/>
              <a:gd name="connsiteY5" fmla="*/ 88555 h 661139"/>
              <a:gd name="connsiteX6" fmla="*/ 8434768 w 8434768"/>
              <a:gd name="connsiteY6" fmla="*/ 352979 h 661139"/>
              <a:gd name="connsiteX0" fmla="*/ 0 w 8434768"/>
              <a:gd name="connsiteY0" fmla="*/ 573011 h 639554"/>
              <a:gd name="connsiteX1" fmla="*/ 1552773 w 8434768"/>
              <a:gd name="connsiteY1" fmla="*/ 639554 h 639554"/>
              <a:gd name="connsiteX2" fmla="*/ 2117821 w 8434768"/>
              <a:gd name="connsiteY2" fmla="*/ 628724 h 639554"/>
              <a:gd name="connsiteX3" fmla="*/ 3008964 w 8434768"/>
              <a:gd name="connsiteY3" fmla="*/ 519810 h 639554"/>
              <a:gd name="connsiteX4" fmla="*/ 4416586 w 8434768"/>
              <a:gd name="connsiteY4" fmla="*/ 143571 h 639554"/>
              <a:gd name="connsiteX5" fmla="*/ 6149074 w 8434768"/>
              <a:gd name="connsiteY5" fmla="*/ 66970 h 639554"/>
              <a:gd name="connsiteX6" fmla="*/ 8434768 w 8434768"/>
              <a:gd name="connsiteY6" fmla="*/ 331394 h 639554"/>
              <a:gd name="connsiteX0" fmla="*/ 0 w 8434768"/>
              <a:gd name="connsiteY0" fmla="*/ 506814 h 573357"/>
              <a:gd name="connsiteX1" fmla="*/ 1552773 w 8434768"/>
              <a:gd name="connsiteY1" fmla="*/ 573357 h 573357"/>
              <a:gd name="connsiteX2" fmla="*/ 2117821 w 8434768"/>
              <a:gd name="connsiteY2" fmla="*/ 562527 h 573357"/>
              <a:gd name="connsiteX3" fmla="*/ 3008964 w 8434768"/>
              <a:gd name="connsiteY3" fmla="*/ 453613 h 573357"/>
              <a:gd name="connsiteX4" fmla="*/ 4416586 w 8434768"/>
              <a:gd name="connsiteY4" fmla="*/ 77374 h 573357"/>
              <a:gd name="connsiteX5" fmla="*/ 6166004 w 8434768"/>
              <a:gd name="connsiteY5" fmla="*/ 89896 h 573357"/>
              <a:gd name="connsiteX6" fmla="*/ 8434768 w 8434768"/>
              <a:gd name="connsiteY6" fmla="*/ 265197 h 573357"/>
              <a:gd name="connsiteX0" fmla="*/ 0 w 8434768"/>
              <a:gd name="connsiteY0" fmla="*/ 485160 h 551703"/>
              <a:gd name="connsiteX1" fmla="*/ 1552773 w 8434768"/>
              <a:gd name="connsiteY1" fmla="*/ 551703 h 551703"/>
              <a:gd name="connsiteX2" fmla="*/ 2117821 w 8434768"/>
              <a:gd name="connsiteY2" fmla="*/ 540873 h 551703"/>
              <a:gd name="connsiteX3" fmla="*/ 3008964 w 8434768"/>
              <a:gd name="connsiteY3" fmla="*/ 431959 h 551703"/>
              <a:gd name="connsiteX4" fmla="*/ 4416586 w 8434768"/>
              <a:gd name="connsiteY4" fmla="*/ 55720 h 551703"/>
              <a:gd name="connsiteX5" fmla="*/ 6178702 w 8434768"/>
              <a:gd name="connsiteY5" fmla="*/ 103116 h 551703"/>
              <a:gd name="connsiteX6" fmla="*/ 8434768 w 8434768"/>
              <a:gd name="connsiteY6" fmla="*/ 243543 h 551703"/>
              <a:gd name="connsiteX0" fmla="*/ 0 w 8434768"/>
              <a:gd name="connsiteY0" fmla="*/ 476621 h 543164"/>
              <a:gd name="connsiteX1" fmla="*/ 1552773 w 8434768"/>
              <a:gd name="connsiteY1" fmla="*/ 543164 h 543164"/>
              <a:gd name="connsiteX2" fmla="*/ 2117821 w 8434768"/>
              <a:gd name="connsiteY2" fmla="*/ 532334 h 543164"/>
              <a:gd name="connsiteX3" fmla="*/ 3008964 w 8434768"/>
              <a:gd name="connsiteY3" fmla="*/ 423420 h 543164"/>
              <a:gd name="connsiteX4" fmla="*/ 4416586 w 8434768"/>
              <a:gd name="connsiteY4" fmla="*/ 47181 h 543164"/>
              <a:gd name="connsiteX5" fmla="*/ 6182935 w 8434768"/>
              <a:gd name="connsiteY5" fmla="*/ 110076 h 543164"/>
              <a:gd name="connsiteX6" fmla="*/ 8434768 w 8434768"/>
              <a:gd name="connsiteY6" fmla="*/ 235004 h 543164"/>
              <a:gd name="connsiteX0" fmla="*/ 0 w 8434768"/>
              <a:gd name="connsiteY0" fmla="*/ 442698 h 509241"/>
              <a:gd name="connsiteX1" fmla="*/ 1552773 w 8434768"/>
              <a:gd name="connsiteY1" fmla="*/ 509241 h 509241"/>
              <a:gd name="connsiteX2" fmla="*/ 2117821 w 8434768"/>
              <a:gd name="connsiteY2" fmla="*/ 498411 h 509241"/>
              <a:gd name="connsiteX3" fmla="*/ 3008964 w 8434768"/>
              <a:gd name="connsiteY3" fmla="*/ 389497 h 509241"/>
              <a:gd name="connsiteX4" fmla="*/ 4416586 w 8434768"/>
              <a:gd name="connsiteY4" fmla="*/ 13258 h 509241"/>
              <a:gd name="connsiteX5" fmla="*/ 6204098 w 8434768"/>
              <a:gd name="connsiteY5" fmla="*/ 169151 h 509241"/>
              <a:gd name="connsiteX6" fmla="*/ 8434768 w 8434768"/>
              <a:gd name="connsiteY6" fmla="*/ 201081 h 509241"/>
              <a:gd name="connsiteX0" fmla="*/ 0 w 8434768"/>
              <a:gd name="connsiteY0" fmla="*/ 442698 h 509241"/>
              <a:gd name="connsiteX1" fmla="*/ 1552773 w 8434768"/>
              <a:gd name="connsiteY1" fmla="*/ 509241 h 509241"/>
              <a:gd name="connsiteX2" fmla="*/ 2117821 w 8434768"/>
              <a:gd name="connsiteY2" fmla="*/ 498411 h 509241"/>
              <a:gd name="connsiteX3" fmla="*/ 3008964 w 8434768"/>
              <a:gd name="connsiteY3" fmla="*/ 389497 h 509241"/>
              <a:gd name="connsiteX4" fmla="*/ 4416586 w 8434768"/>
              <a:gd name="connsiteY4" fmla="*/ 13258 h 509241"/>
              <a:gd name="connsiteX5" fmla="*/ 6204098 w 8434768"/>
              <a:gd name="connsiteY5" fmla="*/ 169151 h 509241"/>
              <a:gd name="connsiteX6" fmla="*/ 8434768 w 8434768"/>
              <a:gd name="connsiteY6" fmla="*/ 201081 h 509241"/>
              <a:gd name="connsiteX0" fmla="*/ 0 w 8434768"/>
              <a:gd name="connsiteY0" fmla="*/ 442698 h 509241"/>
              <a:gd name="connsiteX1" fmla="*/ 1552773 w 8434768"/>
              <a:gd name="connsiteY1" fmla="*/ 509241 h 509241"/>
              <a:gd name="connsiteX2" fmla="*/ 3008964 w 8434768"/>
              <a:gd name="connsiteY2" fmla="*/ 389497 h 509241"/>
              <a:gd name="connsiteX3" fmla="*/ 4416586 w 8434768"/>
              <a:gd name="connsiteY3" fmla="*/ 13258 h 509241"/>
              <a:gd name="connsiteX4" fmla="*/ 6204098 w 8434768"/>
              <a:gd name="connsiteY4" fmla="*/ 169151 h 509241"/>
              <a:gd name="connsiteX5" fmla="*/ 8434768 w 8434768"/>
              <a:gd name="connsiteY5" fmla="*/ 201081 h 509241"/>
              <a:gd name="connsiteX0" fmla="*/ 0 w 8434768"/>
              <a:gd name="connsiteY0" fmla="*/ 442698 h 487774"/>
              <a:gd name="connsiteX1" fmla="*/ 2098789 w 8434768"/>
              <a:gd name="connsiteY1" fmla="*/ 487774 h 487774"/>
              <a:gd name="connsiteX2" fmla="*/ 3008964 w 8434768"/>
              <a:gd name="connsiteY2" fmla="*/ 389497 h 487774"/>
              <a:gd name="connsiteX3" fmla="*/ 4416586 w 8434768"/>
              <a:gd name="connsiteY3" fmla="*/ 13258 h 487774"/>
              <a:gd name="connsiteX4" fmla="*/ 6204098 w 8434768"/>
              <a:gd name="connsiteY4" fmla="*/ 169151 h 487774"/>
              <a:gd name="connsiteX5" fmla="*/ 8434768 w 8434768"/>
              <a:gd name="connsiteY5" fmla="*/ 201081 h 487774"/>
              <a:gd name="connsiteX0" fmla="*/ 0 w 8488364"/>
              <a:gd name="connsiteY0" fmla="*/ 224957 h 495679"/>
              <a:gd name="connsiteX1" fmla="*/ 2152385 w 8488364"/>
              <a:gd name="connsiteY1" fmla="*/ 487774 h 495679"/>
              <a:gd name="connsiteX2" fmla="*/ 3062560 w 8488364"/>
              <a:gd name="connsiteY2" fmla="*/ 389497 h 495679"/>
              <a:gd name="connsiteX3" fmla="*/ 4470182 w 8488364"/>
              <a:gd name="connsiteY3" fmla="*/ 13258 h 495679"/>
              <a:gd name="connsiteX4" fmla="*/ 6257694 w 8488364"/>
              <a:gd name="connsiteY4" fmla="*/ 169151 h 495679"/>
              <a:gd name="connsiteX5" fmla="*/ 8488364 w 8488364"/>
              <a:gd name="connsiteY5" fmla="*/ 201081 h 495679"/>
              <a:gd name="connsiteX0" fmla="*/ 0 w 8488364"/>
              <a:gd name="connsiteY0" fmla="*/ 224957 h 495679"/>
              <a:gd name="connsiteX1" fmla="*/ 2152385 w 8488364"/>
              <a:gd name="connsiteY1" fmla="*/ 487774 h 495679"/>
              <a:gd name="connsiteX2" fmla="*/ 3062560 w 8488364"/>
              <a:gd name="connsiteY2" fmla="*/ 389497 h 495679"/>
              <a:gd name="connsiteX3" fmla="*/ 4470182 w 8488364"/>
              <a:gd name="connsiteY3" fmla="*/ 13258 h 495679"/>
              <a:gd name="connsiteX4" fmla="*/ 6257694 w 8488364"/>
              <a:gd name="connsiteY4" fmla="*/ 169151 h 495679"/>
              <a:gd name="connsiteX5" fmla="*/ 8488364 w 8488364"/>
              <a:gd name="connsiteY5" fmla="*/ 201081 h 495679"/>
              <a:gd name="connsiteX0" fmla="*/ 0 w 8488364"/>
              <a:gd name="connsiteY0" fmla="*/ 224957 h 394400"/>
              <a:gd name="connsiteX1" fmla="*/ 3062560 w 8488364"/>
              <a:gd name="connsiteY1" fmla="*/ 389497 h 394400"/>
              <a:gd name="connsiteX2" fmla="*/ 4470182 w 8488364"/>
              <a:gd name="connsiteY2" fmla="*/ 13258 h 394400"/>
              <a:gd name="connsiteX3" fmla="*/ 6257694 w 8488364"/>
              <a:gd name="connsiteY3" fmla="*/ 169151 h 394400"/>
              <a:gd name="connsiteX4" fmla="*/ 8488364 w 8488364"/>
              <a:gd name="connsiteY4" fmla="*/ 201081 h 394400"/>
              <a:gd name="connsiteX0" fmla="*/ 0 w 8488364"/>
              <a:gd name="connsiteY0" fmla="*/ 224957 h 391416"/>
              <a:gd name="connsiteX1" fmla="*/ 3062560 w 8488364"/>
              <a:gd name="connsiteY1" fmla="*/ 389497 h 391416"/>
              <a:gd name="connsiteX2" fmla="*/ 4470182 w 8488364"/>
              <a:gd name="connsiteY2" fmla="*/ 13258 h 391416"/>
              <a:gd name="connsiteX3" fmla="*/ 6257694 w 8488364"/>
              <a:gd name="connsiteY3" fmla="*/ 169151 h 391416"/>
              <a:gd name="connsiteX4" fmla="*/ 8488364 w 8488364"/>
              <a:gd name="connsiteY4" fmla="*/ 201081 h 391416"/>
              <a:gd name="connsiteX0" fmla="*/ 0 w 8488364"/>
              <a:gd name="connsiteY0" fmla="*/ 223278 h 365306"/>
              <a:gd name="connsiteX1" fmla="*/ 2553391 w 8488364"/>
              <a:gd name="connsiteY1" fmla="*/ 363284 h 365306"/>
              <a:gd name="connsiteX2" fmla="*/ 4470182 w 8488364"/>
              <a:gd name="connsiteY2" fmla="*/ 11579 h 365306"/>
              <a:gd name="connsiteX3" fmla="*/ 6257694 w 8488364"/>
              <a:gd name="connsiteY3" fmla="*/ 167472 h 365306"/>
              <a:gd name="connsiteX4" fmla="*/ 8488364 w 8488364"/>
              <a:gd name="connsiteY4" fmla="*/ 199402 h 365306"/>
              <a:gd name="connsiteX0" fmla="*/ 0 w 8488364"/>
              <a:gd name="connsiteY0" fmla="*/ 223070 h 362045"/>
              <a:gd name="connsiteX1" fmla="*/ 2483046 w 8488364"/>
              <a:gd name="connsiteY1" fmla="*/ 360009 h 362045"/>
              <a:gd name="connsiteX2" fmla="*/ 4470182 w 8488364"/>
              <a:gd name="connsiteY2" fmla="*/ 11371 h 362045"/>
              <a:gd name="connsiteX3" fmla="*/ 6257694 w 8488364"/>
              <a:gd name="connsiteY3" fmla="*/ 167264 h 362045"/>
              <a:gd name="connsiteX4" fmla="*/ 8488364 w 8488364"/>
              <a:gd name="connsiteY4" fmla="*/ 199194 h 362045"/>
              <a:gd name="connsiteX0" fmla="*/ 0 w 8488364"/>
              <a:gd name="connsiteY0" fmla="*/ 211700 h 306613"/>
              <a:gd name="connsiteX1" fmla="*/ 2464254 w 8488364"/>
              <a:gd name="connsiteY1" fmla="*/ 153654 h 306613"/>
              <a:gd name="connsiteX2" fmla="*/ 4470182 w 8488364"/>
              <a:gd name="connsiteY2" fmla="*/ 1 h 306613"/>
              <a:gd name="connsiteX3" fmla="*/ 6257694 w 8488364"/>
              <a:gd name="connsiteY3" fmla="*/ 155894 h 306613"/>
              <a:gd name="connsiteX4" fmla="*/ 8488364 w 8488364"/>
              <a:gd name="connsiteY4" fmla="*/ 187824 h 306613"/>
              <a:gd name="connsiteX0" fmla="*/ 0 w 8488364"/>
              <a:gd name="connsiteY0" fmla="*/ 211700 h 241652"/>
              <a:gd name="connsiteX1" fmla="*/ 2464254 w 8488364"/>
              <a:gd name="connsiteY1" fmla="*/ 153654 h 241652"/>
              <a:gd name="connsiteX2" fmla="*/ 4470182 w 8488364"/>
              <a:gd name="connsiteY2" fmla="*/ 1 h 241652"/>
              <a:gd name="connsiteX3" fmla="*/ 6257694 w 8488364"/>
              <a:gd name="connsiteY3" fmla="*/ 155894 h 241652"/>
              <a:gd name="connsiteX4" fmla="*/ 8488364 w 8488364"/>
              <a:gd name="connsiteY4" fmla="*/ 187824 h 241652"/>
              <a:gd name="connsiteX0" fmla="*/ 0 w 8751457"/>
              <a:gd name="connsiteY0" fmla="*/ 211700 h 225057"/>
              <a:gd name="connsiteX1" fmla="*/ 2464254 w 8751457"/>
              <a:gd name="connsiteY1" fmla="*/ 153654 h 225057"/>
              <a:gd name="connsiteX2" fmla="*/ 4470182 w 8751457"/>
              <a:gd name="connsiteY2" fmla="*/ 1 h 225057"/>
              <a:gd name="connsiteX3" fmla="*/ 6257694 w 8751457"/>
              <a:gd name="connsiteY3" fmla="*/ 155894 h 225057"/>
              <a:gd name="connsiteX4" fmla="*/ 8751457 w 8751457"/>
              <a:gd name="connsiteY4" fmla="*/ 159150 h 2250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751457" h="225057">
                <a:moveTo>
                  <a:pt x="0" y="211700"/>
                </a:moveTo>
                <a:cubicBezTo>
                  <a:pt x="1388387" y="-54564"/>
                  <a:pt x="1719224" y="188937"/>
                  <a:pt x="2464254" y="153654"/>
                </a:cubicBezTo>
                <a:cubicBezTo>
                  <a:pt x="3209284" y="118371"/>
                  <a:pt x="3837942" y="-372"/>
                  <a:pt x="4470182" y="1"/>
                </a:cubicBezTo>
                <a:cubicBezTo>
                  <a:pt x="5102422" y="374"/>
                  <a:pt x="5283616" y="-1017"/>
                  <a:pt x="6257694" y="155894"/>
                </a:cubicBezTo>
                <a:cubicBezTo>
                  <a:pt x="7153758" y="244079"/>
                  <a:pt x="8007483" y="250918"/>
                  <a:pt x="8751457" y="159150"/>
                </a:cubicBezTo>
              </a:path>
            </a:pathLst>
          </a:custGeom>
          <a:noFill/>
          <a:ln w="57150" cmpd="dbl">
            <a:solidFill>
              <a:srgbClr val="E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</a:t>
            </a:r>
          </a:p>
        </p:txBody>
      </p:sp>
      <p:sp>
        <p:nvSpPr>
          <p:cNvPr id="3" name="Textfeld 2">
            <a:extLst>
              <a:ext uri="{FF2B5EF4-FFF2-40B4-BE49-F238E27FC236}">
                <a16:creationId xmlns:a16="http://schemas.microsoft.com/office/drawing/2014/main" id="{9A751DDA-CF63-E8CD-D081-F778B87C5CE1}"/>
              </a:ext>
            </a:extLst>
          </p:cNvPr>
          <p:cNvSpPr txBox="1"/>
          <p:nvPr userDrawn="1"/>
        </p:nvSpPr>
        <p:spPr>
          <a:xfrm>
            <a:off x="3582521" y="2413204"/>
            <a:ext cx="1874015" cy="95410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sz="1400" b="0" i="0">
                <a:solidFill>
                  <a:schemeClr val="bg1"/>
                </a:solidFill>
                <a:latin typeface="Approach Koeln" pitchFamily="2" charset="0"/>
                <a:cs typeface="Arial" panose="020B0604020202020204" pitchFamily="34" charset="0"/>
              </a:rPr>
              <a:t>Wir stehen für Ihre Fragen im Anschluss gerne persönlich zur Verfügung.</a:t>
            </a:r>
            <a:endParaRPr lang="de-DE" sz="1400" b="0" i="0">
              <a:solidFill>
                <a:schemeClr val="bg1"/>
              </a:solidFill>
              <a:latin typeface="Approach Koeln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6964108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x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390386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uppieren 21">
            <a:extLst>
              <a:ext uri="{FF2B5EF4-FFF2-40B4-BE49-F238E27FC236}">
                <a16:creationId xmlns:a16="http://schemas.microsoft.com/office/drawing/2014/main" id="{67274797-D044-E689-8FD0-7DF604A91433}"/>
              </a:ext>
            </a:extLst>
          </p:cNvPr>
          <p:cNvGrpSpPr/>
          <p:nvPr userDrawn="1"/>
        </p:nvGrpSpPr>
        <p:grpSpPr>
          <a:xfrm>
            <a:off x="-6019906" y="-6303101"/>
            <a:ext cx="18211906" cy="13746195"/>
            <a:chOff x="-6019906" y="-6303101"/>
            <a:chExt cx="18211906" cy="13746195"/>
          </a:xfrm>
        </p:grpSpPr>
        <p:pic>
          <p:nvPicPr>
            <p:cNvPr id="23" name="Grafik 22">
              <a:extLst>
                <a:ext uri="{FF2B5EF4-FFF2-40B4-BE49-F238E27FC236}">
                  <a16:creationId xmlns:a16="http://schemas.microsoft.com/office/drawing/2014/main" id="{A271B3F7-3B0D-3058-CFC1-725241576AC6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alphaModFix amt="6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4373" t="13251" r="33299" b="44717"/>
            <a:stretch/>
          </p:blipFill>
          <p:spPr>
            <a:xfrm>
              <a:off x="0" y="0"/>
              <a:ext cx="12192000" cy="6858000"/>
            </a:xfrm>
            <a:prstGeom prst="rect">
              <a:avLst/>
            </a:prstGeom>
          </p:spPr>
        </p:pic>
        <p:sp>
          <p:nvSpPr>
            <p:cNvPr id="25" name="Rechteck 24">
              <a:extLst>
                <a:ext uri="{FF2B5EF4-FFF2-40B4-BE49-F238E27FC236}">
                  <a16:creationId xmlns:a16="http://schemas.microsoft.com/office/drawing/2014/main" id="{E4CF9731-1D86-9FCD-D123-E518F1679A4A}"/>
                </a:ext>
              </a:extLst>
            </p:cNvPr>
            <p:cNvSpPr/>
            <p:nvPr userDrawn="1"/>
          </p:nvSpPr>
          <p:spPr>
            <a:xfrm rot="2088470">
              <a:off x="-6019906" y="-6303101"/>
              <a:ext cx="9739721" cy="13746195"/>
            </a:xfrm>
            <a:prstGeom prst="rect">
              <a:avLst/>
            </a:prstGeom>
            <a:solidFill>
              <a:srgbClr val="A8D6EE">
                <a:alpha val="37367"/>
              </a:srgbClr>
            </a:solidFill>
            <a:ln>
              <a:noFill/>
            </a:ln>
            <a:effectLst>
              <a:glow rad="1734569">
                <a:srgbClr val="A8D6EE">
                  <a:alpha val="10000"/>
                </a:srgbClr>
              </a:glow>
              <a:softEdge rad="1270000"/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pic>
        <p:nvPicPr>
          <p:cNvPr id="21" name="Grafik 20">
            <a:extLst>
              <a:ext uri="{FF2B5EF4-FFF2-40B4-BE49-F238E27FC236}">
                <a16:creationId xmlns:a16="http://schemas.microsoft.com/office/drawing/2014/main" id="{C2350EAC-B93C-014D-FFC3-AE0E211FDFB3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5060025" y="1"/>
            <a:ext cx="12275563" cy="6857999"/>
          </a:xfrm>
          <a:prstGeom prst="rect">
            <a:avLst/>
          </a:prstGeom>
        </p:spPr>
      </p:pic>
      <p:sp>
        <p:nvSpPr>
          <p:cNvPr id="2" name="Textfeld 1">
            <a:extLst>
              <a:ext uri="{FF2B5EF4-FFF2-40B4-BE49-F238E27FC236}">
                <a16:creationId xmlns:a16="http://schemas.microsoft.com/office/drawing/2014/main" id="{C80A7041-EBE8-3D0F-D13C-930DA3C9F131}"/>
              </a:ext>
            </a:extLst>
          </p:cNvPr>
          <p:cNvSpPr txBox="1"/>
          <p:nvPr userDrawn="1"/>
        </p:nvSpPr>
        <p:spPr>
          <a:xfrm>
            <a:off x="725142" y="1058946"/>
            <a:ext cx="5977989" cy="1252651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fontAlgn="auto">
              <a:lnSpc>
                <a:spcPct val="90000"/>
              </a:lnSpc>
              <a:spcAft>
                <a:spcPts val="0"/>
              </a:spcAft>
              <a:defRPr/>
            </a:pPr>
            <a:r>
              <a:rPr lang="de-DE" sz="2800" b="1">
                <a:solidFill>
                  <a:srgbClr val="238A8D"/>
                </a:solidFill>
                <a:latin typeface="Approach Koeln"/>
                <a:ea typeface="+mj-ea"/>
                <a:cs typeface="Arial" panose="020B0604020202020204" pitchFamily="34" charset="0"/>
              </a:rPr>
              <a:t>Die Planungsbereiche </a:t>
            </a:r>
          </a:p>
          <a:p>
            <a:pPr>
              <a:lnSpc>
                <a:spcPct val="90000"/>
              </a:lnSpc>
              <a:spcAft>
                <a:spcPts val="0"/>
              </a:spcAft>
              <a:defRPr/>
            </a:pPr>
            <a:r>
              <a:rPr lang="de-DE" sz="2800" b="1">
                <a:solidFill>
                  <a:srgbClr val="238A8D"/>
                </a:solidFill>
                <a:latin typeface="Approach Koeln"/>
                <a:ea typeface="+mj-ea"/>
                <a:cs typeface="Arial" panose="020B0604020202020204" pitchFamily="34" charset="0"/>
              </a:rPr>
              <a:t>der Ost-West-Achse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de-DE" sz="2500">
              <a:solidFill>
                <a:srgbClr val="238A8D"/>
              </a:solidFill>
              <a:latin typeface="Approach Koeln"/>
              <a:cs typeface="Arial"/>
            </a:endParaRPr>
          </a:p>
        </p:txBody>
      </p:sp>
      <p:grpSp>
        <p:nvGrpSpPr>
          <p:cNvPr id="3" name="Gruppieren 2">
            <a:extLst>
              <a:ext uri="{FF2B5EF4-FFF2-40B4-BE49-F238E27FC236}">
                <a16:creationId xmlns:a16="http://schemas.microsoft.com/office/drawing/2014/main" id="{BB4A6C73-8E94-96D6-024E-5380DB9CFE28}"/>
              </a:ext>
            </a:extLst>
          </p:cNvPr>
          <p:cNvGrpSpPr/>
          <p:nvPr userDrawn="1"/>
        </p:nvGrpSpPr>
        <p:grpSpPr>
          <a:xfrm>
            <a:off x="282578" y="210425"/>
            <a:ext cx="2850036" cy="382306"/>
            <a:chOff x="282578" y="210425"/>
            <a:chExt cx="2850036" cy="382306"/>
          </a:xfrm>
        </p:grpSpPr>
        <p:pic>
          <p:nvPicPr>
            <p:cNvPr id="4" name="Grafik 3">
              <a:extLst>
                <a:ext uri="{FF2B5EF4-FFF2-40B4-BE49-F238E27FC236}">
                  <a16:creationId xmlns:a16="http://schemas.microsoft.com/office/drawing/2014/main" id="{1F626C7F-DBA3-2932-750D-FA5ACD02521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5"/>
                </a:ext>
              </a:extLst>
            </a:blip>
            <a:stretch>
              <a:fillRect/>
            </a:stretch>
          </p:blipFill>
          <p:spPr>
            <a:xfrm>
              <a:off x="282578" y="210425"/>
              <a:ext cx="1682284" cy="359572"/>
            </a:xfrm>
            <a:prstGeom prst="rect">
              <a:avLst/>
            </a:prstGeom>
          </p:spPr>
        </p:pic>
        <p:pic>
          <p:nvPicPr>
            <p:cNvPr id="6" name="Grafik 5">
              <a:extLst>
                <a:ext uri="{FF2B5EF4-FFF2-40B4-BE49-F238E27FC236}">
                  <a16:creationId xmlns:a16="http://schemas.microsoft.com/office/drawing/2014/main" id="{1716E163-3143-8BEA-6644-2FCF5A8F3A7E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334943" y="257118"/>
              <a:ext cx="797671" cy="335613"/>
            </a:xfrm>
            <a:prstGeom prst="rect">
              <a:avLst/>
            </a:prstGeom>
          </p:spPr>
        </p:pic>
      </p:grpSp>
      <p:sp>
        <p:nvSpPr>
          <p:cNvPr id="26" name="Freihandform 25">
            <a:extLst>
              <a:ext uri="{FF2B5EF4-FFF2-40B4-BE49-F238E27FC236}">
                <a16:creationId xmlns:a16="http://schemas.microsoft.com/office/drawing/2014/main" id="{BF3B2415-309D-2E80-F01F-8DA0DDAB7676}"/>
              </a:ext>
            </a:extLst>
          </p:cNvPr>
          <p:cNvSpPr/>
          <p:nvPr userDrawn="1"/>
        </p:nvSpPr>
        <p:spPr>
          <a:xfrm>
            <a:off x="-409651" y="2962656"/>
            <a:ext cx="12874752" cy="1974850"/>
          </a:xfrm>
          <a:custGeom>
            <a:avLst/>
            <a:gdLst>
              <a:gd name="connsiteX0" fmla="*/ 0 w 12874752"/>
              <a:gd name="connsiteY0" fmla="*/ 1002182 h 1974850"/>
              <a:gd name="connsiteX1" fmla="*/ 365760 w 12874752"/>
              <a:gd name="connsiteY1" fmla="*/ 1199693 h 1974850"/>
              <a:gd name="connsiteX2" fmla="*/ 1163117 w 12874752"/>
              <a:gd name="connsiteY2" fmla="*/ 1272845 h 1974850"/>
              <a:gd name="connsiteX3" fmla="*/ 2596896 w 12874752"/>
              <a:gd name="connsiteY3" fmla="*/ 1272845 h 1974850"/>
              <a:gd name="connsiteX4" fmla="*/ 3094329 w 12874752"/>
              <a:gd name="connsiteY4" fmla="*/ 1280160 h 1974850"/>
              <a:gd name="connsiteX5" fmla="*/ 3803904 w 12874752"/>
              <a:gd name="connsiteY5" fmla="*/ 1353312 h 1974850"/>
              <a:gd name="connsiteX6" fmla="*/ 4864608 w 12874752"/>
              <a:gd name="connsiteY6" fmla="*/ 1631290 h 1974850"/>
              <a:gd name="connsiteX7" fmla="*/ 5837529 w 12874752"/>
              <a:gd name="connsiteY7" fmla="*/ 1923898 h 1974850"/>
              <a:gd name="connsiteX8" fmla="*/ 6671462 w 12874752"/>
              <a:gd name="connsiteY8" fmla="*/ 1967789 h 1974850"/>
              <a:gd name="connsiteX9" fmla="*/ 8046720 w 12874752"/>
              <a:gd name="connsiteY9" fmla="*/ 1843430 h 1974850"/>
              <a:gd name="connsiteX10" fmla="*/ 8990381 w 12874752"/>
              <a:gd name="connsiteY10" fmla="*/ 1741018 h 1974850"/>
              <a:gd name="connsiteX11" fmla="*/ 9970617 w 12874752"/>
              <a:gd name="connsiteY11" fmla="*/ 1506931 h 1974850"/>
              <a:gd name="connsiteX12" fmla="*/ 11016691 w 12874752"/>
              <a:gd name="connsiteY12" fmla="*/ 1068019 h 1974850"/>
              <a:gd name="connsiteX13" fmla="*/ 12084710 w 12874752"/>
              <a:gd name="connsiteY13" fmla="*/ 409651 h 1974850"/>
              <a:gd name="connsiteX14" fmla="*/ 12874752 w 12874752"/>
              <a:gd name="connsiteY14" fmla="*/ 0 h 1974850"/>
              <a:gd name="connsiteX15" fmla="*/ 12874752 w 12874752"/>
              <a:gd name="connsiteY15" fmla="*/ 0 h 19748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2874752" h="1974850">
                <a:moveTo>
                  <a:pt x="0" y="1002182"/>
                </a:moveTo>
                <a:cubicBezTo>
                  <a:pt x="85953" y="1078382"/>
                  <a:pt x="171907" y="1154583"/>
                  <a:pt x="365760" y="1199693"/>
                </a:cubicBezTo>
                <a:cubicBezTo>
                  <a:pt x="559613" y="1244804"/>
                  <a:pt x="791261" y="1260653"/>
                  <a:pt x="1163117" y="1272845"/>
                </a:cubicBezTo>
                <a:cubicBezTo>
                  <a:pt x="1534973" y="1285037"/>
                  <a:pt x="2275027" y="1271626"/>
                  <a:pt x="2596896" y="1272845"/>
                </a:cubicBezTo>
                <a:cubicBezTo>
                  <a:pt x="2918765" y="1274064"/>
                  <a:pt x="2893161" y="1266749"/>
                  <a:pt x="3094329" y="1280160"/>
                </a:cubicBezTo>
                <a:cubicBezTo>
                  <a:pt x="3295497" y="1293571"/>
                  <a:pt x="3508858" y="1294790"/>
                  <a:pt x="3803904" y="1353312"/>
                </a:cubicBezTo>
                <a:cubicBezTo>
                  <a:pt x="4098950" y="1411834"/>
                  <a:pt x="4525671" y="1536192"/>
                  <a:pt x="4864608" y="1631290"/>
                </a:cubicBezTo>
                <a:cubicBezTo>
                  <a:pt x="5203545" y="1726388"/>
                  <a:pt x="5536387" y="1867815"/>
                  <a:pt x="5837529" y="1923898"/>
                </a:cubicBezTo>
                <a:cubicBezTo>
                  <a:pt x="6138671" y="1979981"/>
                  <a:pt x="6303264" y="1981200"/>
                  <a:pt x="6671462" y="1967789"/>
                </a:cubicBezTo>
                <a:cubicBezTo>
                  <a:pt x="7039660" y="1954378"/>
                  <a:pt x="7660234" y="1881225"/>
                  <a:pt x="8046720" y="1843430"/>
                </a:cubicBezTo>
                <a:cubicBezTo>
                  <a:pt x="8433206" y="1805635"/>
                  <a:pt x="8669732" y="1797101"/>
                  <a:pt x="8990381" y="1741018"/>
                </a:cubicBezTo>
                <a:cubicBezTo>
                  <a:pt x="9311030" y="1684935"/>
                  <a:pt x="9632899" y="1619097"/>
                  <a:pt x="9970617" y="1506931"/>
                </a:cubicBezTo>
                <a:cubicBezTo>
                  <a:pt x="10308335" y="1394765"/>
                  <a:pt x="10664342" y="1250899"/>
                  <a:pt x="11016691" y="1068019"/>
                </a:cubicBezTo>
                <a:cubicBezTo>
                  <a:pt x="11369040" y="885139"/>
                  <a:pt x="11775033" y="587654"/>
                  <a:pt x="12084710" y="409651"/>
                </a:cubicBezTo>
                <a:cubicBezTo>
                  <a:pt x="12394387" y="231648"/>
                  <a:pt x="12874752" y="0"/>
                  <a:pt x="12874752" y="0"/>
                </a:cubicBezTo>
                <a:lnTo>
                  <a:pt x="12874752" y="0"/>
                </a:lnTo>
              </a:path>
            </a:pathLst>
          </a:custGeom>
          <a:noFill/>
          <a:ln w="101600" cmpd="dbl">
            <a:solidFill>
              <a:srgbClr val="E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20651C6D-F0EA-4040-8858-A9320945A552}"/>
              </a:ext>
            </a:extLst>
          </p:cNvPr>
          <p:cNvSpPr/>
          <p:nvPr userDrawn="1"/>
        </p:nvSpPr>
        <p:spPr>
          <a:xfrm>
            <a:off x="9772361" y="2851619"/>
            <a:ext cx="2559228" cy="2483868"/>
          </a:xfrm>
          <a:prstGeom prst="ellipse">
            <a:avLst/>
          </a:prstGeom>
          <a:solidFill>
            <a:srgbClr val="F89AB4">
              <a:alpha val="6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93BDD336-D408-6E3A-09D6-4D5EEEA219F2}"/>
              </a:ext>
            </a:extLst>
          </p:cNvPr>
          <p:cNvSpPr/>
          <p:nvPr userDrawn="1"/>
        </p:nvSpPr>
        <p:spPr>
          <a:xfrm>
            <a:off x="2703871" y="2925169"/>
            <a:ext cx="3127275" cy="3128400"/>
          </a:xfrm>
          <a:prstGeom prst="ellipse">
            <a:avLst/>
          </a:prstGeom>
          <a:solidFill>
            <a:srgbClr val="ED7D31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57926DA7-2816-7F86-9976-21EE43EBF9F4}"/>
              </a:ext>
            </a:extLst>
          </p:cNvPr>
          <p:cNvSpPr/>
          <p:nvPr userDrawn="1"/>
        </p:nvSpPr>
        <p:spPr>
          <a:xfrm>
            <a:off x="4232556" y="2886225"/>
            <a:ext cx="3110400" cy="3110400"/>
          </a:xfrm>
          <a:prstGeom prst="ellipse">
            <a:avLst/>
          </a:prstGeom>
          <a:solidFill>
            <a:srgbClr val="FFC000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83233722-BFA3-491D-CCCE-7210FA535A97}"/>
              </a:ext>
            </a:extLst>
          </p:cNvPr>
          <p:cNvSpPr/>
          <p:nvPr userDrawn="1"/>
        </p:nvSpPr>
        <p:spPr>
          <a:xfrm>
            <a:off x="25283" y="2855064"/>
            <a:ext cx="2833200" cy="2833144"/>
          </a:xfrm>
          <a:prstGeom prst="ellipse">
            <a:avLst/>
          </a:prstGeom>
          <a:solidFill>
            <a:srgbClr val="00B0F0">
              <a:alpha val="11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</a:endParaRPr>
          </a:p>
        </p:txBody>
      </p:sp>
      <p:sp>
        <p:nvSpPr>
          <p:cNvPr id="13" name="Grafik 11">
            <a:extLst>
              <a:ext uri="{FF2B5EF4-FFF2-40B4-BE49-F238E27FC236}">
                <a16:creationId xmlns:a16="http://schemas.microsoft.com/office/drawing/2014/main" id="{50B5006B-9B73-43B6-88EF-85CF4001645B}"/>
              </a:ext>
            </a:extLst>
          </p:cNvPr>
          <p:cNvSpPr/>
          <p:nvPr userDrawn="1"/>
        </p:nvSpPr>
        <p:spPr>
          <a:xfrm>
            <a:off x="417580" y="2715575"/>
            <a:ext cx="2016867" cy="414117"/>
          </a:xfrm>
          <a:custGeom>
            <a:avLst/>
            <a:gdLst>
              <a:gd name="connsiteX0" fmla="*/ 1928716 w 1928715"/>
              <a:gd name="connsiteY0" fmla="*/ 414117 h 414117"/>
              <a:gd name="connsiteX1" fmla="*/ 0 w 1928715"/>
              <a:gd name="connsiteY1" fmla="*/ 414117 h 414117"/>
              <a:gd name="connsiteX2" fmla="*/ 0 w 1928715"/>
              <a:gd name="connsiteY2" fmla="*/ 0 h 414117"/>
              <a:gd name="connsiteX3" fmla="*/ 1928716 w 1928715"/>
              <a:gd name="connsiteY3" fmla="*/ 0 h 414117"/>
              <a:gd name="connsiteX4" fmla="*/ 1809351 w 1928715"/>
              <a:gd name="connsiteY4" fmla="*/ 196633 h 4141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28715" h="414117">
                <a:moveTo>
                  <a:pt x="1928716" y="414117"/>
                </a:moveTo>
                <a:lnTo>
                  <a:pt x="0" y="414117"/>
                </a:lnTo>
                <a:lnTo>
                  <a:pt x="0" y="0"/>
                </a:lnTo>
                <a:lnTo>
                  <a:pt x="1928716" y="0"/>
                </a:lnTo>
                <a:lnTo>
                  <a:pt x="1809351" y="196633"/>
                </a:lnTo>
                <a:close/>
              </a:path>
            </a:pathLst>
          </a:custGeom>
          <a:solidFill>
            <a:srgbClr val="00B0F0">
              <a:alpha val="16000"/>
            </a:srgbClr>
          </a:solidFill>
          <a:ln w="474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proach Koeln"/>
                <a:ea typeface="+mn-ea"/>
                <a:cs typeface="Arial" panose="020B0604020202020204" pitchFamily="34" charset="0"/>
              </a:rPr>
              <a:t>Abschnitt West</a:t>
            </a:r>
          </a:p>
        </p:txBody>
      </p:sp>
      <p:sp>
        <p:nvSpPr>
          <p:cNvPr id="14" name="Grafik 11">
            <a:extLst>
              <a:ext uri="{FF2B5EF4-FFF2-40B4-BE49-F238E27FC236}">
                <a16:creationId xmlns:a16="http://schemas.microsoft.com/office/drawing/2014/main" id="{35E02AC0-ED30-F917-E3E8-7EA1FE7650D2}"/>
              </a:ext>
            </a:extLst>
          </p:cNvPr>
          <p:cNvSpPr/>
          <p:nvPr userDrawn="1"/>
        </p:nvSpPr>
        <p:spPr>
          <a:xfrm>
            <a:off x="5383887" y="2640554"/>
            <a:ext cx="1660038" cy="564161"/>
          </a:xfrm>
          <a:custGeom>
            <a:avLst/>
            <a:gdLst>
              <a:gd name="connsiteX0" fmla="*/ 1928716 w 1928715"/>
              <a:gd name="connsiteY0" fmla="*/ 414117 h 414117"/>
              <a:gd name="connsiteX1" fmla="*/ 0 w 1928715"/>
              <a:gd name="connsiteY1" fmla="*/ 414117 h 414117"/>
              <a:gd name="connsiteX2" fmla="*/ 0 w 1928715"/>
              <a:gd name="connsiteY2" fmla="*/ 0 h 414117"/>
              <a:gd name="connsiteX3" fmla="*/ 1928716 w 1928715"/>
              <a:gd name="connsiteY3" fmla="*/ 0 h 414117"/>
              <a:gd name="connsiteX4" fmla="*/ 1809351 w 1928715"/>
              <a:gd name="connsiteY4" fmla="*/ 196633 h 4141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28715" h="414117">
                <a:moveTo>
                  <a:pt x="1928716" y="414117"/>
                </a:moveTo>
                <a:lnTo>
                  <a:pt x="0" y="414117"/>
                </a:lnTo>
                <a:lnTo>
                  <a:pt x="0" y="0"/>
                </a:lnTo>
                <a:lnTo>
                  <a:pt x="1928716" y="0"/>
                </a:lnTo>
                <a:lnTo>
                  <a:pt x="1809351" y="196633"/>
                </a:lnTo>
                <a:close/>
              </a:path>
            </a:pathLst>
          </a:custGeom>
          <a:solidFill>
            <a:srgbClr val="FFC000">
              <a:alpha val="30000"/>
            </a:srgbClr>
          </a:solidFill>
          <a:ln w="474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ts val="176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proach Koeln"/>
                <a:ea typeface="+mn-ea"/>
                <a:cs typeface="Arial" panose="020B0604020202020204" pitchFamily="34" charset="0"/>
              </a:rPr>
              <a:t>Innenstadt – unterirdisch</a:t>
            </a:r>
          </a:p>
        </p:txBody>
      </p:sp>
      <p:sp>
        <p:nvSpPr>
          <p:cNvPr id="15" name="Grafik 11">
            <a:extLst>
              <a:ext uri="{FF2B5EF4-FFF2-40B4-BE49-F238E27FC236}">
                <a16:creationId xmlns:a16="http://schemas.microsoft.com/office/drawing/2014/main" id="{DCF4A107-2222-22BD-83BE-18A0BACAD38F}"/>
              </a:ext>
            </a:extLst>
          </p:cNvPr>
          <p:cNvSpPr/>
          <p:nvPr userDrawn="1"/>
        </p:nvSpPr>
        <p:spPr>
          <a:xfrm>
            <a:off x="3139346" y="2795677"/>
            <a:ext cx="1705693" cy="564161"/>
          </a:xfrm>
          <a:custGeom>
            <a:avLst/>
            <a:gdLst>
              <a:gd name="connsiteX0" fmla="*/ 1928716 w 1928715"/>
              <a:gd name="connsiteY0" fmla="*/ 414117 h 414117"/>
              <a:gd name="connsiteX1" fmla="*/ 0 w 1928715"/>
              <a:gd name="connsiteY1" fmla="*/ 414117 h 414117"/>
              <a:gd name="connsiteX2" fmla="*/ 0 w 1928715"/>
              <a:gd name="connsiteY2" fmla="*/ 0 h 414117"/>
              <a:gd name="connsiteX3" fmla="*/ 1928716 w 1928715"/>
              <a:gd name="connsiteY3" fmla="*/ 0 h 414117"/>
              <a:gd name="connsiteX4" fmla="*/ 1809351 w 1928715"/>
              <a:gd name="connsiteY4" fmla="*/ 196633 h 4141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28715" h="414117">
                <a:moveTo>
                  <a:pt x="1928716" y="414117"/>
                </a:moveTo>
                <a:lnTo>
                  <a:pt x="0" y="414117"/>
                </a:lnTo>
                <a:lnTo>
                  <a:pt x="0" y="0"/>
                </a:lnTo>
                <a:lnTo>
                  <a:pt x="1928716" y="0"/>
                </a:lnTo>
                <a:lnTo>
                  <a:pt x="1809351" y="196633"/>
                </a:lnTo>
                <a:close/>
              </a:path>
            </a:pathLst>
          </a:custGeom>
          <a:solidFill>
            <a:srgbClr val="ED7D31">
              <a:alpha val="20000"/>
            </a:srgbClr>
          </a:solidFill>
          <a:ln w="474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ts val="176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proach Koeln"/>
                <a:ea typeface="+mn-ea"/>
                <a:cs typeface="Arial" panose="020B0604020202020204" pitchFamily="34" charset="0"/>
              </a:rPr>
              <a:t>Innenstadt – oberirdisch</a:t>
            </a:r>
          </a:p>
        </p:txBody>
      </p:sp>
      <p:sp>
        <p:nvSpPr>
          <p:cNvPr id="16" name="Grafik 11">
            <a:extLst>
              <a:ext uri="{FF2B5EF4-FFF2-40B4-BE49-F238E27FC236}">
                <a16:creationId xmlns:a16="http://schemas.microsoft.com/office/drawing/2014/main" id="{48F4BE17-66EA-0450-5084-552C3BC6532D}"/>
              </a:ext>
            </a:extLst>
          </p:cNvPr>
          <p:cNvSpPr/>
          <p:nvPr userDrawn="1"/>
        </p:nvSpPr>
        <p:spPr>
          <a:xfrm>
            <a:off x="9909697" y="2589080"/>
            <a:ext cx="2033038" cy="414117"/>
          </a:xfrm>
          <a:custGeom>
            <a:avLst/>
            <a:gdLst>
              <a:gd name="connsiteX0" fmla="*/ 1928716 w 1928715"/>
              <a:gd name="connsiteY0" fmla="*/ 414117 h 414117"/>
              <a:gd name="connsiteX1" fmla="*/ 0 w 1928715"/>
              <a:gd name="connsiteY1" fmla="*/ 414117 h 414117"/>
              <a:gd name="connsiteX2" fmla="*/ 0 w 1928715"/>
              <a:gd name="connsiteY2" fmla="*/ 0 h 414117"/>
              <a:gd name="connsiteX3" fmla="*/ 1928716 w 1928715"/>
              <a:gd name="connsiteY3" fmla="*/ 0 h 414117"/>
              <a:gd name="connsiteX4" fmla="*/ 1809351 w 1928715"/>
              <a:gd name="connsiteY4" fmla="*/ 196633 h 4141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28715" h="414117">
                <a:moveTo>
                  <a:pt x="1928716" y="414117"/>
                </a:moveTo>
                <a:lnTo>
                  <a:pt x="0" y="414117"/>
                </a:lnTo>
                <a:lnTo>
                  <a:pt x="0" y="0"/>
                </a:lnTo>
                <a:lnTo>
                  <a:pt x="1928716" y="0"/>
                </a:lnTo>
                <a:lnTo>
                  <a:pt x="1809351" y="196633"/>
                </a:lnTo>
                <a:close/>
              </a:path>
            </a:pathLst>
          </a:custGeom>
          <a:solidFill>
            <a:srgbClr val="F89AB4"/>
          </a:solidFill>
          <a:ln w="474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proach Koeln"/>
                <a:ea typeface="+mn-ea"/>
                <a:cs typeface="Arial" panose="020B0604020202020204" pitchFamily="34" charset="0"/>
              </a:rPr>
              <a:t>Abschnitt Ost</a:t>
            </a: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E80D26F6-4E5D-85F2-F1EE-2857CBB442F0}"/>
              </a:ext>
            </a:extLst>
          </p:cNvPr>
          <p:cNvSpPr/>
          <p:nvPr userDrawn="1"/>
        </p:nvSpPr>
        <p:spPr>
          <a:xfrm>
            <a:off x="7359831" y="3204714"/>
            <a:ext cx="2395109" cy="2394000"/>
          </a:xfrm>
          <a:prstGeom prst="ellipse">
            <a:avLst/>
          </a:prstGeom>
          <a:solidFill>
            <a:srgbClr val="445274">
              <a:alpha val="6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9" name="Grafik 11">
            <a:extLst>
              <a:ext uri="{FF2B5EF4-FFF2-40B4-BE49-F238E27FC236}">
                <a16:creationId xmlns:a16="http://schemas.microsoft.com/office/drawing/2014/main" id="{953F0EC8-AE34-0D7D-C661-F2B4D12FD0BB}"/>
              </a:ext>
            </a:extLst>
          </p:cNvPr>
          <p:cNvSpPr/>
          <p:nvPr userDrawn="1"/>
        </p:nvSpPr>
        <p:spPr>
          <a:xfrm>
            <a:off x="7582773" y="2885258"/>
            <a:ext cx="1986657" cy="414117"/>
          </a:xfrm>
          <a:custGeom>
            <a:avLst/>
            <a:gdLst>
              <a:gd name="connsiteX0" fmla="*/ 1928716 w 1928715"/>
              <a:gd name="connsiteY0" fmla="*/ 414117 h 414117"/>
              <a:gd name="connsiteX1" fmla="*/ 0 w 1928715"/>
              <a:gd name="connsiteY1" fmla="*/ 414117 h 414117"/>
              <a:gd name="connsiteX2" fmla="*/ 0 w 1928715"/>
              <a:gd name="connsiteY2" fmla="*/ 0 h 414117"/>
              <a:gd name="connsiteX3" fmla="*/ 1928716 w 1928715"/>
              <a:gd name="connsiteY3" fmla="*/ 0 h 414117"/>
              <a:gd name="connsiteX4" fmla="*/ 1809351 w 1928715"/>
              <a:gd name="connsiteY4" fmla="*/ 196633 h 4141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28715" h="414117">
                <a:moveTo>
                  <a:pt x="1928716" y="414117"/>
                </a:moveTo>
                <a:lnTo>
                  <a:pt x="0" y="414117"/>
                </a:lnTo>
                <a:lnTo>
                  <a:pt x="0" y="0"/>
                </a:lnTo>
                <a:lnTo>
                  <a:pt x="1928716" y="0"/>
                </a:lnTo>
                <a:lnTo>
                  <a:pt x="1809351" y="196633"/>
                </a:lnTo>
                <a:close/>
              </a:path>
            </a:pathLst>
          </a:custGeom>
          <a:solidFill>
            <a:srgbClr val="445274"/>
          </a:solidFill>
          <a:ln w="4742" cap="flat">
            <a:noFill/>
            <a:prstDash val="solid"/>
            <a:miter/>
          </a:ln>
        </p:spPr>
        <p:txBody>
          <a:bodyPr rtlCol="0" anchor="ctr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de-DE" sz="1800" b="1">
                <a:solidFill>
                  <a:prstClr val="white"/>
                </a:solidFill>
                <a:latin typeface="Approach Koeln"/>
                <a:cs typeface="Arial" panose="020B0604020202020204" pitchFamily="34" charset="0"/>
              </a:rPr>
              <a:t>Bestandstunnel</a:t>
            </a:r>
          </a:p>
        </p:txBody>
      </p:sp>
      <p:sp>
        <p:nvSpPr>
          <p:cNvPr id="27" name="Textfeld 26">
            <a:extLst>
              <a:ext uri="{FF2B5EF4-FFF2-40B4-BE49-F238E27FC236}">
                <a16:creationId xmlns:a16="http://schemas.microsoft.com/office/drawing/2014/main" id="{81A34249-0A45-59D0-701B-43556C126746}"/>
              </a:ext>
            </a:extLst>
          </p:cNvPr>
          <p:cNvSpPr txBox="1"/>
          <p:nvPr userDrawn="1"/>
        </p:nvSpPr>
        <p:spPr>
          <a:xfrm>
            <a:off x="825503" y="6339798"/>
            <a:ext cx="8191781" cy="307777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algn="l"/>
            <a:endParaRPr lang="de-DE" sz="1000" b="0" i="0">
              <a:solidFill>
                <a:srgbClr val="FF0000"/>
              </a:solidFill>
              <a:latin typeface="Approach Koeln SemiBold" pitchFamily="2" charset="0"/>
            </a:endParaRPr>
          </a:p>
          <a:p>
            <a:pPr algn="l"/>
            <a:r>
              <a:rPr lang="de-DE" sz="1000" b="0" i="0">
                <a:solidFill>
                  <a:srgbClr val="FF0000"/>
                </a:solidFill>
                <a:latin typeface="Approach Koeln SemiBold" pitchFamily="2" charset="0"/>
              </a:rPr>
              <a:t>Kölner Verkehrs-Betriebe AG</a:t>
            </a:r>
            <a:endParaRPr lang="de-DE" sz="1000" b="0" i="0">
              <a:solidFill>
                <a:srgbClr val="FF0000"/>
              </a:solidFill>
              <a:latin typeface="Approach Koeln" pitchFamily="2" charset="0"/>
            </a:endParaRPr>
          </a:p>
        </p:txBody>
      </p:sp>
      <p:sp>
        <p:nvSpPr>
          <p:cNvPr id="17" name="Grafik 11">
            <a:extLst>
              <a:ext uri="{FF2B5EF4-FFF2-40B4-BE49-F238E27FC236}">
                <a16:creationId xmlns:a16="http://schemas.microsoft.com/office/drawing/2014/main" id="{F0FD5008-E72A-C51B-B4FE-EC81A08EF1CF}"/>
              </a:ext>
            </a:extLst>
          </p:cNvPr>
          <p:cNvSpPr/>
          <p:nvPr userDrawn="1"/>
        </p:nvSpPr>
        <p:spPr>
          <a:xfrm>
            <a:off x="10453691" y="5095677"/>
            <a:ext cx="1698204" cy="531240"/>
          </a:xfrm>
          <a:custGeom>
            <a:avLst/>
            <a:gdLst>
              <a:gd name="connsiteX0" fmla="*/ 1928716 w 1928715"/>
              <a:gd name="connsiteY0" fmla="*/ 414117 h 414117"/>
              <a:gd name="connsiteX1" fmla="*/ 0 w 1928715"/>
              <a:gd name="connsiteY1" fmla="*/ 414117 h 414117"/>
              <a:gd name="connsiteX2" fmla="*/ 0 w 1928715"/>
              <a:gd name="connsiteY2" fmla="*/ 0 h 414117"/>
              <a:gd name="connsiteX3" fmla="*/ 1928716 w 1928715"/>
              <a:gd name="connsiteY3" fmla="*/ 0 h 414117"/>
              <a:gd name="connsiteX4" fmla="*/ 1809351 w 1928715"/>
              <a:gd name="connsiteY4" fmla="*/ 196633 h 4141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28715" h="414117">
                <a:moveTo>
                  <a:pt x="1928716" y="414117"/>
                </a:moveTo>
                <a:lnTo>
                  <a:pt x="0" y="414117"/>
                </a:lnTo>
                <a:lnTo>
                  <a:pt x="0" y="0"/>
                </a:lnTo>
                <a:lnTo>
                  <a:pt x="1928716" y="0"/>
                </a:lnTo>
                <a:lnTo>
                  <a:pt x="1809351" y="196633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  <a:ln w="474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proach Koeln"/>
                <a:ea typeface="+mn-ea"/>
                <a:cs typeface="Arial" panose="020B0604020202020204" pitchFamily="34" charset="0"/>
              </a:rPr>
              <a:t>Rheinisch-Bergischer Kreis</a:t>
            </a:r>
          </a:p>
        </p:txBody>
      </p:sp>
    </p:spTree>
    <p:extLst>
      <p:ext uri="{BB962C8B-B14F-4D97-AF65-F5344CB8AC3E}">
        <p14:creationId xmlns:p14="http://schemas.microsoft.com/office/powerpoint/2010/main" val="14179209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305C3406-011B-BB51-C42A-AA51134F780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3" name="think-cell Folie" r:id="rId4" imgW="484" imgH="484" progId="TCLayout.ActiveDocument.1">
                  <p:embed/>
                </p:oleObj>
              </mc:Choice>
              <mc:Fallback>
                <p:oleObj name="think-cell Folie" r:id="rId4" imgW="484" imgH="484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05C3406-011B-BB51-C42A-AA51134F780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hteck 10">
            <a:extLst>
              <a:ext uri="{FF2B5EF4-FFF2-40B4-BE49-F238E27FC236}">
                <a16:creationId xmlns:a16="http://schemas.microsoft.com/office/drawing/2014/main" id="{9EDB2AE7-A0BE-7D44-BE37-DE8DF512E42A}"/>
              </a:ext>
            </a:extLst>
          </p:cNvPr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D1856CCD-4E45-0A49-8045-DD7DFDC61E31}"/>
              </a:ext>
            </a:extLst>
          </p:cNvPr>
          <p:cNvSpPr/>
          <p:nvPr userDrawn="1"/>
        </p:nvSpPr>
        <p:spPr>
          <a:xfrm>
            <a:off x="9143998" y="0"/>
            <a:ext cx="3048001" cy="3430800"/>
          </a:xfrm>
          <a:prstGeom prst="rect">
            <a:avLst/>
          </a:prstGeom>
          <a:solidFill>
            <a:srgbClr val="EE9E9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9" name="Rechteck 18">
            <a:extLst>
              <a:ext uri="{FF2B5EF4-FFF2-40B4-BE49-F238E27FC236}">
                <a16:creationId xmlns:a16="http://schemas.microsoft.com/office/drawing/2014/main" id="{DB6FCD46-EF68-1A40-B7ED-8183DA6BF98C}"/>
              </a:ext>
            </a:extLst>
          </p:cNvPr>
          <p:cNvSpPr/>
          <p:nvPr userDrawn="1"/>
        </p:nvSpPr>
        <p:spPr>
          <a:xfrm>
            <a:off x="9143998" y="3425399"/>
            <a:ext cx="3049200" cy="34308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D3B0DBC-F23D-F34F-B424-CEC78FD7DE2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32000" y="812193"/>
            <a:ext cx="6682478" cy="2263169"/>
          </a:xfrm>
          <a:prstGeom prst="rect">
            <a:avLst/>
          </a:prstGeom>
        </p:spPr>
        <p:txBody>
          <a:bodyPr vert="horz" wrap="square" lIns="0" tIns="0" rIns="0" bIns="0" anchor="b" anchorCtr="0">
            <a:noAutofit/>
          </a:bodyPr>
          <a:lstStyle>
            <a:lvl1pPr algn="l">
              <a:defRPr sz="4800" b="1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de-DE"/>
              <a:t>Hier steht eine</a:t>
            </a:r>
            <a:br>
              <a:rPr lang="de-DE"/>
            </a:br>
            <a:r>
              <a:rPr lang="de-DE"/>
              <a:t>Titel-Headline.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161DD0A1-F82B-AB4C-BFF0-817CF351BF3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32000" y="3330855"/>
            <a:ext cx="6682478" cy="94744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 defTabSz="914400" rtl="0" eaLnBrk="1" latinLnBrk="0" hangingPunct="1">
              <a:lnSpc>
                <a:spcPts val="3800"/>
              </a:lnSpc>
              <a:spcBef>
                <a:spcPts val="0"/>
              </a:spcBef>
              <a:buFont typeface="Arial" panose="020B0604020202020204" pitchFamily="34" charset="0"/>
              <a:buNone/>
              <a:defRPr lang="de-DE" sz="2800" b="1" kern="1200" dirty="0">
                <a:solidFill>
                  <a:schemeClr val="bg1"/>
                </a:solidFill>
                <a:effectLst/>
                <a:latin typeface="+mn-lt"/>
                <a:ea typeface="+mj-ea"/>
                <a:cs typeface="+mj-cs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>
                <a:effectLst/>
                <a:latin typeface="Calibri" panose="020F0502020204030204" pitchFamily="34" charset="0"/>
              </a:rPr>
              <a:t>Und hier eine kurze </a:t>
            </a:r>
            <a:r>
              <a:rPr lang="de-DE" err="1">
                <a:effectLst/>
                <a:latin typeface="Calibri" panose="020F0502020204030204" pitchFamily="34" charset="0"/>
              </a:rPr>
              <a:t>Subline</a:t>
            </a:r>
            <a:r>
              <a:rPr lang="de-DE">
                <a:effectLst/>
                <a:latin typeface="Calibri" panose="020F0502020204030204" pitchFamily="34" charset="0"/>
              </a:rPr>
              <a:t>, </a:t>
            </a:r>
            <a:br>
              <a:rPr lang="de-DE">
                <a:effectLst/>
                <a:latin typeface="Calibri" panose="020F0502020204030204" pitchFamily="34" charset="0"/>
              </a:rPr>
            </a:br>
            <a:r>
              <a:rPr lang="de-DE">
                <a:effectLst/>
                <a:latin typeface="Calibri" panose="020F0502020204030204" pitchFamily="34" charset="0"/>
              </a:rPr>
              <a:t>die auch etwas länger sein kann.</a:t>
            </a: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CE6DE234-EF24-E54D-B317-DBB0D3F301C5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9905398" y="4819098"/>
            <a:ext cx="1526400" cy="643403"/>
          </a:xfrm>
          <a:prstGeom prst="rect">
            <a:avLst/>
          </a:prstGeom>
        </p:spPr>
      </p:pic>
      <p:sp>
        <p:nvSpPr>
          <p:cNvPr id="7" name="Textplatzhalter 7">
            <a:extLst>
              <a:ext uri="{FF2B5EF4-FFF2-40B4-BE49-F238E27FC236}">
                <a16:creationId xmlns:a16="http://schemas.microsoft.com/office/drawing/2014/main" id="{BE43D6D9-387D-F77A-D1F2-E26C35FB8DE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32000" y="4350713"/>
            <a:ext cx="5111948" cy="378126"/>
          </a:xfrm>
          <a:prstGeom prst="rect">
            <a:avLst/>
          </a:prstGeom>
        </p:spPr>
        <p:txBody>
          <a:bodyPr lIns="0" anchor="ctr">
            <a:noAutofit/>
          </a:bodyPr>
          <a:lstStyle>
            <a:lvl1pPr marL="0" indent="0" algn="l" defTabSz="914400" rtl="0" eaLnBrk="1" latinLnBrk="0" hangingPunct="1">
              <a:lnSpc>
                <a:spcPts val="1700"/>
              </a:lnSpc>
              <a:spcBef>
                <a:spcPts val="0"/>
              </a:spcBef>
              <a:buFont typeface="Arial" panose="020B0604020202020204" pitchFamily="34" charset="0"/>
              <a:buNone/>
              <a:defRPr lang="de-DE" sz="20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de-DE" sz="2000"/>
              <a:t>Ort, Datum</a:t>
            </a:r>
          </a:p>
        </p:txBody>
      </p:sp>
    </p:spTree>
    <p:extLst>
      <p:ext uri="{BB962C8B-B14F-4D97-AF65-F5344CB8AC3E}">
        <p14:creationId xmlns:p14="http://schemas.microsoft.com/office/powerpoint/2010/main" val="28188487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498">
          <p15:clr>
            <a:srgbClr val="FDE53C"/>
          </p15:clr>
        </p15:guide>
        <p15:guide id="2" pos="257">
          <p15:clr>
            <a:srgbClr val="FDE53C"/>
          </p15:clr>
        </p15:guide>
        <p15:guide id="3" orient="horz" pos="1933">
          <p15:clr>
            <a:srgbClr val="FDE53C"/>
          </p15:clr>
        </p15:guide>
        <p15:guide id="4" orient="horz" pos="504">
          <p15:clr>
            <a:srgbClr val="FDE53C"/>
          </p15:clr>
        </p15:guide>
        <p15:guide id="5" orient="horz" pos="2092">
          <p15:clr>
            <a:srgbClr val="FDE53C"/>
          </p15:clr>
        </p15:guide>
        <p15:guide id="6" orient="horz" pos="2704">
          <p15:clr>
            <a:srgbClr val="FDE53C"/>
          </p15:clr>
        </p15:guide>
        <p15:guide id="7" orient="horz" pos="2727">
          <p15:clr>
            <a:srgbClr val="FDE53C"/>
          </p15:clr>
        </p15:guide>
        <p15:guide id="8" orient="horz" pos="2976">
          <p15:clr>
            <a:srgbClr val="FDE53C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se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513BD9A6-5975-0F4F-3F8C-04D3A99CC5E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7" name="think-cell Folie" r:id="rId4" imgW="484" imgH="484" progId="TCLayout.ActiveDocument.1">
                  <p:embed/>
                </p:oleObj>
              </mc:Choice>
              <mc:Fallback>
                <p:oleObj name="think-cell Folie" r:id="rId4" imgW="484" imgH="484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13BD9A6-5975-0F4F-3F8C-04D3A99CC5E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hteck 11">
            <a:extLst>
              <a:ext uri="{FF2B5EF4-FFF2-40B4-BE49-F238E27FC236}">
                <a16:creationId xmlns:a16="http://schemas.microsoft.com/office/drawing/2014/main" id="{B74EDD18-F99D-F74F-A12B-AF770CBCA049}"/>
              </a:ext>
            </a:extLst>
          </p:cNvPr>
          <p:cNvSpPr/>
          <p:nvPr userDrawn="1"/>
        </p:nvSpPr>
        <p:spPr>
          <a:xfrm>
            <a:off x="-1" y="6001200"/>
            <a:ext cx="10596563" cy="8568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6" name="Textfeld 15">
            <a:extLst>
              <a:ext uri="{FF2B5EF4-FFF2-40B4-BE49-F238E27FC236}">
                <a16:creationId xmlns:a16="http://schemas.microsoft.com/office/drawing/2014/main" id="{EAFAF00A-52A4-7D4F-8325-508BC8CF4B17}"/>
              </a:ext>
            </a:extLst>
          </p:cNvPr>
          <p:cNvSpPr txBox="1"/>
          <p:nvPr userDrawn="1"/>
        </p:nvSpPr>
        <p:spPr>
          <a:xfrm>
            <a:off x="432000" y="6343200"/>
            <a:ext cx="872664" cy="184666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fld id="{EEC84336-3956-264C-9C65-1156880DC32F}" type="slidenum">
              <a:rPr lang="de-DE" sz="1200" smtClean="0">
                <a:solidFill>
                  <a:schemeClr val="bg1"/>
                </a:solidFill>
              </a:rPr>
              <a:t>‹Nr.›</a:t>
            </a:fld>
            <a:endParaRPr lang="de-DE" sz="1200">
              <a:solidFill>
                <a:schemeClr val="bg1"/>
              </a:solidFill>
            </a:endParaRPr>
          </a:p>
        </p:txBody>
      </p:sp>
      <p:sp>
        <p:nvSpPr>
          <p:cNvPr id="11" name="Textplatzhalter 13">
            <a:extLst>
              <a:ext uri="{FF2B5EF4-FFF2-40B4-BE49-F238E27FC236}">
                <a16:creationId xmlns:a16="http://schemas.microsoft.com/office/drawing/2014/main" id="{CA642B9E-9845-FE48-BDE0-DEFC775B349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6884" y="995847"/>
            <a:ext cx="9899316" cy="25181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de-DE" sz="1800" b="0" kern="1200" dirty="0">
                <a:solidFill>
                  <a:schemeClr val="tx1"/>
                </a:solidFill>
                <a:effectLst/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r>
              <a:rPr lang="de-DE"/>
              <a:t>Und eine </a:t>
            </a:r>
            <a:r>
              <a:rPr lang="de-DE" err="1"/>
              <a:t>Subline</a:t>
            </a:r>
            <a:r>
              <a:rPr lang="de-DE"/>
              <a:t>.</a:t>
            </a:r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221B3AC3-6C09-4042-A63F-2F1CBEA0E489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rcRect/>
          <a:stretch/>
        </p:blipFill>
        <p:spPr>
          <a:xfrm>
            <a:off x="10996800" y="6268749"/>
            <a:ext cx="763200" cy="321701"/>
          </a:xfrm>
          <a:prstGeom prst="rect">
            <a:avLst/>
          </a:prstGeom>
        </p:spPr>
      </p:pic>
      <p:sp>
        <p:nvSpPr>
          <p:cNvPr id="13" name="Rechteck 12">
            <a:extLst>
              <a:ext uri="{FF2B5EF4-FFF2-40B4-BE49-F238E27FC236}">
                <a16:creationId xmlns:a16="http://schemas.microsoft.com/office/drawing/2014/main" id="{5C1E1AF4-08FE-4544-8404-71311D75D1F6}"/>
              </a:ext>
            </a:extLst>
          </p:cNvPr>
          <p:cNvSpPr/>
          <p:nvPr userDrawn="1"/>
        </p:nvSpPr>
        <p:spPr>
          <a:xfrm>
            <a:off x="10596563" y="-2"/>
            <a:ext cx="1595436" cy="6001202"/>
          </a:xfrm>
          <a:prstGeom prst="rect">
            <a:avLst/>
          </a:prstGeom>
          <a:solidFill>
            <a:srgbClr val="EE9E9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8DC99A0E-9AA2-D84B-8E88-19992F05972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58800" y="6343200"/>
            <a:ext cx="6181200" cy="183600"/>
          </a:xfrm>
        </p:spPr>
        <p:txBody>
          <a:bodyPr vert="horz" lIns="0" tIns="0" rIns="0" bIns="0" rtlCol="0" anchor="ctr"/>
          <a:lstStyle>
            <a:lvl1pPr>
              <a:defRPr lang="pt-BR" smtClean="0">
                <a:solidFill>
                  <a:srgbClr val="FFFFFF"/>
                </a:solidFill>
              </a:defRPr>
            </a:lvl1pPr>
          </a:lstStyle>
          <a:p>
            <a:r>
              <a:rPr lang="pt-BR"/>
              <a:t>ESK | AR | 16. April 2024 </a:t>
            </a: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687FC07F-4222-7DF1-E5AB-6EF849A9C43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79806735-79FD-27B3-DC76-5E14B9F6D3F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209542-CF8F-4CEE-921E-77928553DA4F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2714396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18">
          <p15:clr>
            <a:srgbClr val="F26B43"/>
          </p15:clr>
        </p15:guide>
        <p15:guide id="2" orient="horz" pos="799">
          <p15:clr>
            <a:srgbClr val="F26B43"/>
          </p15:clr>
        </p15:guide>
        <p15:guide id="3" pos="3341">
          <p15:clr>
            <a:srgbClr val="F26B43"/>
          </p15:clr>
        </p15:guide>
        <p15:guide id="4" orient="horz" pos="913">
          <p15:clr>
            <a:srgbClr val="F26B43"/>
          </p15:clr>
        </p15:guide>
        <p15:guide id="5" orient="horz" pos="2273">
          <p15:clr>
            <a:srgbClr val="F26B43"/>
          </p15:clr>
        </p15:guide>
        <p15:guide id="6" orient="horz" pos="3634">
          <p15:clr>
            <a:srgbClr val="F26B43"/>
          </p15:clr>
        </p15:guide>
        <p15:guide id="7" pos="6448">
          <p15:clr>
            <a:srgbClr val="F26B43"/>
          </p15:clr>
        </p15:guide>
        <p15:guide id="8" pos="211">
          <p15:clr>
            <a:srgbClr val="F26B43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think-cell data - do not delete" hidden="1">
            <a:extLst>
              <a:ext uri="{FF2B5EF4-FFF2-40B4-BE49-F238E27FC236}">
                <a16:creationId xmlns:a16="http://schemas.microsoft.com/office/drawing/2014/main" id="{E98A5B1B-83D7-4613-744B-A21F4005B41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1" name="think-cell Folie" r:id="rId4" imgW="484" imgH="484" progId="TCLayout.ActiveDocument.1">
                  <p:embed/>
                </p:oleObj>
              </mc:Choice>
              <mc:Fallback>
                <p:oleObj name="think-cell Folie" r:id="rId4" imgW="484" imgH="484" progId="TCLayout.ActiveDocument.1">
                  <p:embed/>
                  <p:pic>
                    <p:nvPicPr>
                      <p:cNvPr id="1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98A5B1B-83D7-4613-744B-A21F4005B41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hteck 11">
            <a:extLst>
              <a:ext uri="{FF2B5EF4-FFF2-40B4-BE49-F238E27FC236}">
                <a16:creationId xmlns:a16="http://schemas.microsoft.com/office/drawing/2014/main" id="{B74EDD18-F99D-F74F-A12B-AF770CBCA049}"/>
              </a:ext>
            </a:extLst>
          </p:cNvPr>
          <p:cNvSpPr/>
          <p:nvPr userDrawn="1"/>
        </p:nvSpPr>
        <p:spPr>
          <a:xfrm>
            <a:off x="-1" y="6001200"/>
            <a:ext cx="10596564" cy="8568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A3650813-79CD-D34A-9E18-CDA1DDC2828F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rcRect/>
          <a:stretch/>
        </p:blipFill>
        <p:spPr>
          <a:xfrm>
            <a:off x="10996800" y="6268749"/>
            <a:ext cx="763200" cy="321701"/>
          </a:xfrm>
          <a:prstGeom prst="rect">
            <a:avLst/>
          </a:prstGeom>
        </p:spPr>
      </p:pic>
      <p:sp>
        <p:nvSpPr>
          <p:cNvPr id="16" name="Textfeld 15">
            <a:extLst>
              <a:ext uri="{FF2B5EF4-FFF2-40B4-BE49-F238E27FC236}">
                <a16:creationId xmlns:a16="http://schemas.microsoft.com/office/drawing/2014/main" id="{EAFAF00A-52A4-7D4F-8325-508BC8CF4B17}"/>
              </a:ext>
            </a:extLst>
          </p:cNvPr>
          <p:cNvSpPr txBox="1"/>
          <p:nvPr userDrawn="1"/>
        </p:nvSpPr>
        <p:spPr>
          <a:xfrm>
            <a:off x="432000" y="6343200"/>
            <a:ext cx="872664" cy="184666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fld id="{EEC84336-3956-264C-9C65-1156880DC32F}" type="slidenum">
              <a:rPr lang="de-DE" sz="1200" smtClean="0">
                <a:solidFill>
                  <a:schemeClr val="bg1"/>
                </a:solidFill>
              </a:rPr>
              <a:t>‹Nr.›</a:t>
            </a:fld>
            <a:endParaRPr lang="de-DE" sz="1200">
              <a:solidFill>
                <a:schemeClr val="bg1"/>
              </a:solidFill>
            </a:endParaRP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C5E9B65A-DA5D-9747-80C7-FF40589A3656}"/>
              </a:ext>
            </a:extLst>
          </p:cNvPr>
          <p:cNvSpPr/>
          <p:nvPr userDrawn="1"/>
        </p:nvSpPr>
        <p:spPr>
          <a:xfrm>
            <a:off x="10596563" y="0"/>
            <a:ext cx="1595437" cy="6001202"/>
          </a:xfrm>
          <a:prstGeom prst="rect">
            <a:avLst/>
          </a:prstGeom>
          <a:solidFill>
            <a:srgbClr val="EE9E9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7EFB42B1-C9E7-FD45-A627-DD925C6F56DE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>
          <a:xfrm>
            <a:off x="658800" y="6343200"/>
            <a:ext cx="6181200" cy="183600"/>
          </a:xfrm>
        </p:spPr>
        <p:txBody>
          <a:bodyPr vert="horz" lIns="0" tIns="0" rIns="0" bIns="0" rtlCol="0" anchor="ctr"/>
          <a:lstStyle>
            <a:lvl1pPr>
              <a:defRPr lang="pt-BR" smtClean="0">
                <a:solidFill>
                  <a:srgbClr val="FFFFFF"/>
                </a:solidFill>
              </a:defRPr>
            </a:lvl1pPr>
          </a:lstStyle>
          <a:p>
            <a:r>
              <a:rPr lang="pt-BR"/>
              <a:t>ESK | AR | 16. April 2024 </a:t>
            </a:r>
          </a:p>
        </p:txBody>
      </p:sp>
      <p:sp>
        <p:nvSpPr>
          <p:cNvPr id="4" name="Textplatzhalter 13">
            <a:extLst>
              <a:ext uri="{FF2B5EF4-FFF2-40B4-BE49-F238E27FC236}">
                <a16:creationId xmlns:a16="http://schemas.microsoft.com/office/drawing/2014/main" id="{EFC7D990-96FD-30B4-B34B-D811A33D8EDF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6884" y="995847"/>
            <a:ext cx="9899316" cy="25181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de-DE" sz="1800" b="0" kern="1200" dirty="0">
                <a:solidFill>
                  <a:schemeClr val="tx1"/>
                </a:solidFill>
                <a:effectLst/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r>
              <a:rPr lang="de-DE"/>
              <a:t>Und eine </a:t>
            </a:r>
            <a:r>
              <a:rPr lang="de-DE" err="1"/>
              <a:t>Subline</a:t>
            </a:r>
            <a:r>
              <a:rPr lang="de-DE"/>
              <a:t>.</a:t>
            </a:r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BBB3F392-5E67-347E-7A12-73DEFFE741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6ACF8D3C-BFC4-A29B-FE78-6614CEE031E4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0B209542-CF8F-4CEE-921E-77928553DA4F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755D325A-3784-0725-0C3F-C76EBFE50D35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36884" y="1449388"/>
            <a:ext cx="9899316" cy="4325769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5267440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pos="6448">
          <p15:clr>
            <a:srgbClr val="F26B43"/>
          </p15:clr>
        </p15:guide>
        <p15:guide id="4" pos="211">
          <p15:clr>
            <a:srgbClr val="F26B43"/>
          </p15:clr>
        </p15:guide>
        <p15:guide id="5" orient="horz" pos="3634">
          <p15:clr>
            <a:srgbClr val="F26B43"/>
          </p15:clr>
        </p15:guide>
        <p15:guide id="6" orient="horz" pos="913">
          <p15:clr>
            <a:srgbClr val="F26B43"/>
          </p15:clr>
        </p15:guide>
        <p15:guide id="7" orient="horz" pos="799">
          <p15:clr>
            <a:srgbClr val="F26B43"/>
          </p15:clr>
        </p15:guide>
        <p15:guide id="8" orient="horz" pos="618">
          <p15:clr>
            <a:srgbClr val="F26B43"/>
          </p15:clr>
        </p15:guide>
        <p15:guide id="9" pos="3341">
          <p15:clr>
            <a:srgbClr val="F26B43"/>
          </p15:clr>
        </p15:guide>
        <p15:guide id="10" orient="horz" pos="2273">
          <p15:clr>
            <a:srgbClr val="F26B43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n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015CDBDA-FBA5-54BC-1E39-976700DF5D2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5" name="think-cell Folie" r:id="rId4" imgW="592" imgH="595" progId="TCLayout.ActiveDocument.1">
                  <p:embed/>
                </p:oleObj>
              </mc:Choice>
              <mc:Fallback>
                <p:oleObj name="think-cell Folie" r:id="rId4" imgW="592" imgH="595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5CDBDA-FBA5-54BC-1E39-976700DF5D2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itel 1">
            <a:extLst>
              <a:ext uri="{FF2B5EF4-FFF2-40B4-BE49-F238E27FC236}">
                <a16:creationId xmlns:a16="http://schemas.microsoft.com/office/drawing/2014/main" id="{B8306604-082B-7F41-9E0A-8C55B849421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34963" y="431998"/>
            <a:ext cx="9901237" cy="5561153"/>
          </a:xfrm>
          <a:prstGeom prst="rect">
            <a:avLst/>
          </a:prstGeom>
        </p:spPr>
        <p:txBody>
          <a:bodyPr vert="horz" wrap="square" lIns="0" tIns="0" rIns="0" bIns="0" anchor="ctr" anchorCtr="0">
            <a:noAutofit/>
          </a:bodyPr>
          <a:lstStyle>
            <a:lvl1pPr algn="l">
              <a:defRPr sz="7000" b="1">
                <a:solidFill>
                  <a:schemeClr val="tx1"/>
                </a:solidFill>
                <a:latin typeface="+mn-lt"/>
              </a:defRPr>
            </a:lvl1pPr>
          </a:lstStyle>
          <a:p>
            <a:endParaRPr lang="de-DE"/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EE3A140A-DB09-D649-852B-CBBB488CE5C5}"/>
              </a:ext>
            </a:extLst>
          </p:cNvPr>
          <p:cNvSpPr/>
          <p:nvPr userDrawn="1"/>
        </p:nvSpPr>
        <p:spPr>
          <a:xfrm>
            <a:off x="-1" y="6001200"/>
            <a:ext cx="10596563" cy="8568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3" name="Textfeld 12">
            <a:extLst>
              <a:ext uri="{FF2B5EF4-FFF2-40B4-BE49-F238E27FC236}">
                <a16:creationId xmlns:a16="http://schemas.microsoft.com/office/drawing/2014/main" id="{541836F9-A4C3-4C4E-9FC6-06D1E0FF8425}"/>
              </a:ext>
            </a:extLst>
          </p:cNvPr>
          <p:cNvSpPr txBox="1"/>
          <p:nvPr userDrawn="1"/>
        </p:nvSpPr>
        <p:spPr>
          <a:xfrm>
            <a:off x="432000" y="6343200"/>
            <a:ext cx="872664" cy="184666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fld id="{EEC84336-3956-264C-9C65-1156880DC32F}" type="slidenum">
              <a:rPr lang="de-DE" sz="1200" smtClean="0">
                <a:solidFill>
                  <a:schemeClr val="bg1"/>
                </a:solidFill>
              </a:rPr>
              <a:t>‹Nr.›</a:t>
            </a:fld>
            <a:endParaRPr lang="de-DE" sz="1200">
              <a:solidFill>
                <a:schemeClr val="bg1"/>
              </a:solidFill>
            </a:endParaRPr>
          </a:p>
        </p:txBody>
      </p:sp>
      <p:pic>
        <p:nvPicPr>
          <p:cNvPr id="14" name="Grafik 13">
            <a:extLst>
              <a:ext uri="{FF2B5EF4-FFF2-40B4-BE49-F238E27FC236}">
                <a16:creationId xmlns:a16="http://schemas.microsoft.com/office/drawing/2014/main" id="{55852E65-BC10-FA4B-A651-42E7591C6336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rcRect/>
          <a:stretch/>
        </p:blipFill>
        <p:spPr>
          <a:xfrm>
            <a:off x="10996800" y="6268749"/>
            <a:ext cx="763200" cy="321701"/>
          </a:xfrm>
          <a:prstGeom prst="rect">
            <a:avLst/>
          </a:prstGeom>
        </p:spPr>
      </p:pic>
      <p:sp>
        <p:nvSpPr>
          <p:cNvPr id="8" name="Rechteck 7">
            <a:extLst>
              <a:ext uri="{FF2B5EF4-FFF2-40B4-BE49-F238E27FC236}">
                <a16:creationId xmlns:a16="http://schemas.microsoft.com/office/drawing/2014/main" id="{34EAA66C-2550-3C48-A385-AB00DA25A902}"/>
              </a:ext>
            </a:extLst>
          </p:cNvPr>
          <p:cNvSpPr/>
          <p:nvPr userDrawn="1"/>
        </p:nvSpPr>
        <p:spPr>
          <a:xfrm>
            <a:off x="10596563" y="0"/>
            <a:ext cx="1595436" cy="6001202"/>
          </a:xfrm>
          <a:prstGeom prst="rect">
            <a:avLst/>
          </a:prstGeom>
          <a:solidFill>
            <a:srgbClr val="EE9E9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60AF52DE-95CD-684D-B9F9-E226FFF8585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58800" y="6343200"/>
            <a:ext cx="6181200" cy="183600"/>
          </a:xfrm>
        </p:spPr>
        <p:txBody>
          <a:bodyPr vert="horz" lIns="0" tIns="0" rIns="0" bIns="0" rtlCol="0" anchor="ctr"/>
          <a:lstStyle>
            <a:lvl1pPr>
              <a:defRPr lang="pt-BR" smtClean="0">
                <a:solidFill>
                  <a:srgbClr val="FFFFFF"/>
                </a:solidFill>
              </a:defRPr>
            </a:lvl1pPr>
          </a:lstStyle>
          <a:p>
            <a:r>
              <a:rPr lang="pt-BR"/>
              <a:t>ESK | AR | 16. April 2024 </a:t>
            </a:r>
          </a:p>
        </p:txBody>
      </p:sp>
    </p:spTree>
    <p:extLst>
      <p:ext uri="{BB962C8B-B14F-4D97-AF65-F5344CB8AC3E}">
        <p14:creationId xmlns:p14="http://schemas.microsoft.com/office/powerpoint/2010/main" val="12784237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11">
          <p15:clr>
            <a:srgbClr val="F26B43"/>
          </p15:clr>
        </p15:guide>
        <p15:guide id="2" pos="6448">
          <p15:clr>
            <a:srgbClr val="F26B43"/>
          </p15:clr>
        </p15:guide>
        <p15:guide id="3" orient="horz" pos="278">
          <p15:clr>
            <a:srgbClr val="F26B43"/>
          </p15:clr>
        </p15:guide>
        <p15:guide id="4" orient="horz" pos="3770">
          <p15:clr>
            <a:srgbClr val="F26B43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tztes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>
            <a:extLst>
              <a:ext uri="{FF2B5EF4-FFF2-40B4-BE49-F238E27FC236}">
                <a16:creationId xmlns:a16="http://schemas.microsoft.com/office/drawing/2014/main" id="{E5D2BF36-7A20-AE4A-9F68-20889A7ED4B0}"/>
              </a:ext>
            </a:extLst>
          </p:cNvPr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8F68C1AC-4DB6-054D-A006-EAB7426307FD}"/>
              </a:ext>
            </a:extLst>
          </p:cNvPr>
          <p:cNvSpPr/>
          <p:nvPr userDrawn="1"/>
        </p:nvSpPr>
        <p:spPr>
          <a:xfrm>
            <a:off x="9143998" y="0"/>
            <a:ext cx="3048001" cy="3430800"/>
          </a:xfrm>
          <a:prstGeom prst="rect">
            <a:avLst/>
          </a:prstGeom>
          <a:solidFill>
            <a:srgbClr val="EE9E9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2D8A47EB-D1ED-FA4F-B762-62EF8EEA1397}"/>
              </a:ext>
            </a:extLst>
          </p:cNvPr>
          <p:cNvSpPr/>
          <p:nvPr userDrawn="1"/>
        </p:nvSpPr>
        <p:spPr>
          <a:xfrm>
            <a:off x="9143998" y="3425399"/>
            <a:ext cx="3049200" cy="34308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048A7B43-8321-224C-95DA-4C7618B4A36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905398" y="4819098"/>
            <a:ext cx="1526400" cy="643403"/>
          </a:xfrm>
          <a:prstGeom prst="rect">
            <a:avLst/>
          </a:prstGeom>
        </p:spPr>
      </p:pic>
      <p:sp>
        <p:nvSpPr>
          <p:cNvPr id="4" name="Textplatzhalter 22">
            <a:extLst>
              <a:ext uri="{FF2B5EF4-FFF2-40B4-BE49-F238E27FC236}">
                <a16:creationId xmlns:a16="http://schemas.microsoft.com/office/drawing/2014/main" id="{D2642486-6A9F-2142-AC97-2C80E4EC931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800" y="4580412"/>
            <a:ext cx="3774440" cy="1948226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 marL="0" indent="0">
              <a:lnSpc>
                <a:spcPts val="1700"/>
              </a:lnSpc>
              <a:spcBef>
                <a:spcPts val="0"/>
              </a:spcBef>
              <a:buNone/>
              <a:defRPr lang="de-DE" sz="1200" b="0" smtClean="0">
                <a:solidFill>
                  <a:schemeClr val="bg1"/>
                </a:solidFill>
                <a:effectLst/>
              </a:defRPr>
            </a:lvl1pPr>
          </a:lstStyle>
          <a:p>
            <a:r>
              <a:rPr lang="de-DE" b="1">
                <a:effectLst/>
                <a:latin typeface="Calibri" panose="020F0502020204030204" pitchFamily="34" charset="0"/>
              </a:rPr>
              <a:t>Kölner Verkehrs-Betriebe AG</a:t>
            </a:r>
            <a:br>
              <a:rPr lang="de-DE" b="1">
                <a:effectLst/>
                <a:latin typeface="Calibri" panose="020F0502020204030204" pitchFamily="34" charset="0"/>
              </a:rPr>
            </a:br>
            <a:r>
              <a:rPr lang="de-DE" b="1">
                <a:effectLst/>
                <a:latin typeface="Calibri" panose="020F0502020204030204" pitchFamily="34" charset="0"/>
              </a:rPr>
              <a:t/>
            </a:r>
            <a:br>
              <a:rPr lang="de-DE" b="1">
                <a:effectLst/>
                <a:latin typeface="Calibri" panose="020F0502020204030204" pitchFamily="34" charset="0"/>
              </a:rPr>
            </a:br>
            <a:r>
              <a:rPr lang="de-DE" b="1">
                <a:effectLst/>
                <a:latin typeface="Calibri" panose="020F0502020204030204" pitchFamily="34" charset="0"/>
              </a:rPr>
              <a:t>Maxim Muster</a:t>
            </a:r>
            <a:br>
              <a:rPr lang="de-DE" b="1">
                <a:effectLst/>
                <a:latin typeface="Calibri" panose="020F0502020204030204" pitchFamily="34" charset="0"/>
              </a:rPr>
            </a:br>
            <a:r>
              <a:rPr lang="de-DE">
                <a:effectLst/>
                <a:latin typeface="Calibri" panose="020F0502020204030204" pitchFamily="34" charset="0"/>
              </a:rPr>
              <a:t>Funktion</a:t>
            </a:r>
            <a:br>
              <a:rPr lang="de-DE">
                <a:effectLst/>
                <a:latin typeface="Calibri" panose="020F0502020204030204" pitchFamily="34" charset="0"/>
              </a:rPr>
            </a:br>
            <a:r>
              <a:rPr lang="de-DE">
                <a:effectLst/>
                <a:latin typeface="Calibri" panose="020F0502020204030204" pitchFamily="34" charset="0"/>
              </a:rPr>
              <a:t>Abteilung </a:t>
            </a:r>
            <a:br>
              <a:rPr lang="de-DE">
                <a:effectLst/>
                <a:latin typeface="Calibri" panose="020F0502020204030204" pitchFamily="34" charset="0"/>
              </a:rPr>
            </a:br>
            <a:r>
              <a:rPr lang="de-DE">
                <a:effectLst/>
                <a:latin typeface="Calibri" panose="020F0502020204030204" pitchFamily="34" charset="0"/>
              </a:rPr>
              <a:t>0221 547-xxxx</a:t>
            </a:r>
            <a:br>
              <a:rPr lang="de-DE">
                <a:effectLst/>
                <a:latin typeface="Calibri" panose="020F0502020204030204" pitchFamily="34" charset="0"/>
              </a:rPr>
            </a:br>
            <a:r>
              <a:rPr lang="de-DE" err="1">
                <a:effectLst/>
                <a:latin typeface="Calibri" panose="020F0502020204030204" pitchFamily="34" charset="0"/>
              </a:rPr>
              <a:t>muster.maxim@kvb.koeln</a:t>
            </a:r>
            <a:r>
              <a:rPr lang="de-DE">
                <a:effectLst/>
                <a:latin typeface="Calibri" panose="020F0502020204030204" pitchFamily="34" charset="0"/>
              </a:rPr>
              <a:t/>
            </a:r>
            <a:br>
              <a:rPr lang="de-DE">
                <a:effectLst/>
                <a:latin typeface="Calibri" panose="020F0502020204030204" pitchFamily="34" charset="0"/>
              </a:rPr>
            </a:br>
            <a:r>
              <a:rPr lang="de-DE">
                <a:effectLst/>
                <a:latin typeface="Calibri" panose="020F0502020204030204" pitchFamily="34" charset="0"/>
              </a:rPr>
              <a:t/>
            </a:r>
            <a:br>
              <a:rPr lang="de-DE">
                <a:effectLst/>
                <a:latin typeface="Calibri" panose="020F0502020204030204" pitchFamily="34" charset="0"/>
              </a:rPr>
            </a:br>
            <a:r>
              <a:rPr lang="de-DE" b="1" err="1">
                <a:effectLst/>
                <a:latin typeface="Calibri" panose="020F0502020204030204" pitchFamily="34" charset="0"/>
              </a:rPr>
              <a:t>www.kvb.koeln</a:t>
            </a:r>
            <a:endParaRPr lang="de-DE">
              <a:effectLst/>
              <a:latin typeface="Calibri" panose="020F0502020204030204" pitchFamily="34" charset="0"/>
            </a:endParaRPr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180AE84D-60DF-7347-9CA9-A71B9C4602EE}"/>
              </a:ext>
            </a:extLst>
          </p:cNvPr>
          <p:cNvSpPr txBox="1"/>
          <p:nvPr userDrawn="1"/>
        </p:nvSpPr>
        <p:spPr>
          <a:xfrm>
            <a:off x="431800" y="2106000"/>
            <a:ext cx="4955988" cy="96949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</a:pPr>
            <a:r>
              <a:rPr lang="de-DE" sz="7000" b="1" kern="1200">
                <a:solidFill>
                  <a:schemeClr val="bg1"/>
                </a:solidFill>
                <a:latin typeface="+mn-lt"/>
                <a:ea typeface="+mj-ea"/>
                <a:cs typeface="+mj-cs"/>
              </a:rPr>
              <a:t>Vielen Dank.</a:t>
            </a:r>
          </a:p>
        </p:txBody>
      </p:sp>
    </p:spTree>
    <p:extLst>
      <p:ext uri="{BB962C8B-B14F-4D97-AF65-F5344CB8AC3E}">
        <p14:creationId xmlns:p14="http://schemas.microsoft.com/office/powerpoint/2010/main" val="120177136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ext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think-cell data - do not delete" hidden="1">
            <a:extLst>
              <a:ext uri="{FF2B5EF4-FFF2-40B4-BE49-F238E27FC236}">
                <a16:creationId xmlns:a16="http://schemas.microsoft.com/office/drawing/2014/main" id="{E98A5B1B-83D7-4613-744B-A21F4005B41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9" name="think-cell Folie" r:id="rId4" imgW="484" imgH="484" progId="TCLayout.ActiveDocument.1">
                  <p:embed/>
                </p:oleObj>
              </mc:Choice>
              <mc:Fallback>
                <p:oleObj name="think-cell Folie" r:id="rId4" imgW="484" imgH="484" progId="TCLayout.ActiveDocument.1">
                  <p:embed/>
                  <p:pic>
                    <p:nvPicPr>
                      <p:cNvPr id="1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98A5B1B-83D7-4613-744B-A21F4005B41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hteck 11">
            <a:extLst>
              <a:ext uri="{FF2B5EF4-FFF2-40B4-BE49-F238E27FC236}">
                <a16:creationId xmlns:a16="http://schemas.microsoft.com/office/drawing/2014/main" id="{B74EDD18-F99D-F74F-A12B-AF770CBCA049}"/>
              </a:ext>
            </a:extLst>
          </p:cNvPr>
          <p:cNvSpPr/>
          <p:nvPr userDrawn="1"/>
        </p:nvSpPr>
        <p:spPr>
          <a:xfrm>
            <a:off x="-1" y="6001200"/>
            <a:ext cx="10596564" cy="8568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A3650813-79CD-D34A-9E18-CDA1DDC2828F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rcRect/>
          <a:stretch/>
        </p:blipFill>
        <p:spPr>
          <a:xfrm>
            <a:off x="10996800" y="6268749"/>
            <a:ext cx="763200" cy="321701"/>
          </a:xfrm>
          <a:prstGeom prst="rect">
            <a:avLst/>
          </a:prstGeom>
        </p:spPr>
      </p:pic>
      <p:sp>
        <p:nvSpPr>
          <p:cNvPr id="16" name="Textfeld 15">
            <a:extLst>
              <a:ext uri="{FF2B5EF4-FFF2-40B4-BE49-F238E27FC236}">
                <a16:creationId xmlns:a16="http://schemas.microsoft.com/office/drawing/2014/main" id="{EAFAF00A-52A4-7D4F-8325-508BC8CF4B17}"/>
              </a:ext>
            </a:extLst>
          </p:cNvPr>
          <p:cNvSpPr txBox="1"/>
          <p:nvPr userDrawn="1"/>
        </p:nvSpPr>
        <p:spPr>
          <a:xfrm>
            <a:off x="432000" y="6343200"/>
            <a:ext cx="872664" cy="184666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fld id="{EEC84336-3956-264C-9C65-1156880DC32F}" type="slidenum">
              <a:rPr lang="de-DE" sz="1200" smtClean="0">
                <a:solidFill>
                  <a:schemeClr val="bg1"/>
                </a:solidFill>
              </a:rPr>
              <a:t>‹Nr.›</a:t>
            </a:fld>
            <a:endParaRPr lang="de-DE" sz="1200">
              <a:solidFill>
                <a:schemeClr val="bg1"/>
              </a:solidFill>
            </a:endParaRP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C5E9B65A-DA5D-9747-80C7-FF40589A3656}"/>
              </a:ext>
            </a:extLst>
          </p:cNvPr>
          <p:cNvSpPr/>
          <p:nvPr userDrawn="1"/>
        </p:nvSpPr>
        <p:spPr>
          <a:xfrm>
            <a:off x="10596563" y="0"/>
            <a:ext cx="1595437" cy="6001202"/>
          </a:xfrm>
          <a:prstGeom prst="rect">
            <a:avLst/>
          </a:prstGeom>
          <a:solidFill>
            <a:srgbClr val="EE9E9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4B26A9A6-343C-A54C-9458-1F7A35EBEEC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36884" y="1449388"/>
            <a:ext cx="9899316" cy="4325769"/>
          </a:xfrm>
          <a:prstGeom prst="rect">
            <a:avLst/>
          </a:prstGeom>
        </p:spPr>
        <p:txBody>
          <a:bodyPr/>
          <a:lstStyle>
            <a:lvl1pPr marL="176213" indent="-176213">
              <a:lnSpc>
                <a:spcPts val="2600"/>
              </a:lnSpc>
              <a:spcBef>
                <a:spcPts val="6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§"/>
              <a:defRPr lang="de-DE" sz="19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8163" indent="-177800">
              <a:lnSpc>
                <a:spcPts val="2600"/>
              </a:lnSpc>
              <a:spcBef>
                <a:spcPts val="0"/>
              </a:spcBef>
              <a:buClr>
                <a:schemeClr val="accent6"/>
              </a:buClr>
              <a:buSzPct val="70000"/>
              <a:buFont typeface="Symbol" panose="05050102010706020507" pitchFamily="18" charset="2"/>
              <a:buChar char="-"/>
              <a:defRPr sz="1900"/>
            </a:lvl2pPr>
            <a:lvl3pPr marL="898525" indent="-184150">
              <a:lnSpc>
                <a:spcPts val="2600"/>
              </a:lnSpc>
              <a:spcBef>
                <a:spcPts val="0"/>
              </a:spcBef>
              <a:buClr>
                <a:schemeClr val="accent6"/>
              </a:buClr>
              <a:buSzPct val="70000"/>
              <a:buFont typeface="Symbol" panose="05050102010706020507" pitchFamily="18" charset="2"/>
              <a:buChar char="-"/>
              <a:defRPr sz="1900"/>
            </a:lvl3pPr>
            <a:lvl4pPr marL="1258888" indent="-184150">
              <a:lnSpc>
                <a:spcPts val="2600"/>
              </a:lnSpc>
              <a:spcBef>
                <a:spcPts val="0"/>
              </a:spcBef>
              <a:buClr>
                <a:schemeClr val="accent6"/>
              </a:buClr>
              <a:buSzPct val="70000"/>
              <a:buFont typeface="Symbol" panose="05050102010706020507" pitchFamily="18" charset="2"/>
              <a:buChar char="-"/>
              <a:defRPr sz="1900"/>
            </a:lvl4pPr>
            <a:lvl5pPr marL="1612900" indent="-177800">
              <a:lnSpc>
                <a:spcPts val="2600"/>
              </a:lnSpc>
              <a:spcBef>
                <a:spcPts val="0"/>
              </a:spcBef>
              <a:buClr>
                <a:schemeClr val="accent6"/>
              </a:buClr>
              <a:buSzPct val="70000"/>
              <a:buFont typeface="Symbol" panose="05050102010706020507" pitchFamily="18" charset="2"/>
              <a:buChar char="-"/>
              <a:defRPr sz="1900"/>
            </a:lvl5pPr>
            <a:lvl6pPr indent="-230400">
              <a:buClr>
                <a:schemeClr val="accent3"/>
              </a:buClr>
              <a:buSzPct val="70000"/>
              <a:defRPr/>
            </a:lvl6pPr>
            <a:lvl7pPr indent="-230400">
              <a:buClr>
                <a:schemeClr val="accent3"/>
              </a:buClr>
              <a:buSzPct val="70000"/>
              <a:defRPr/>
            </a:lvl7pPr>
            <a:lvl8pPr indent="-230400">
              <a:buClr>
                <a:schemeClr val="accent3"/>
              </a:buClr>
              <a:buSzPct val="70000"/>
              <a:defRPr/>
            </a:lvl8pPr>
            <a:lvl9pPr marL="3943350" indent="-230400">
              <a:buClr>
                <a:schemeClr val="accent3"/>
              </a:buClr>
              <a:buSzPct val="70000"/>
              <a:buFont typeface="Arial" panose="020B0604020202020204" pitchFamily="34" charset="0"/>
              <a:buChar char="•"/>
              <a:defRPr/>
            </a:lvl9pPr>
          </a:lstStyle>
          <a:p>
            <a:pPr lvl="0"/>
            <a:r>
              <a:rPr lang="de-DE"/>
              <a:t>Hier steht ein Text oder eine Aufzählung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0"/>
            <a:r>
              <a:rPr lang="de-DE"/>
              <a:t>Hier steht ein Text oder eine Aufzählung.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7EFB42B1-C9E7-FD45-A627-DD925C6F56DE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>
          <a:xfrm>
            <a:off x="658800" y="6343200"/>
            <a:ext cx="6181200" cy="183600"/>
          </a:xfrm>
        </p:spPr>
        <p:txBody>
          <a:bodyPr vert="horz" lIns="0" tIns="0" rIns="0" bIns="0" rtlCol="0" anchor="ctr"/>
          <a:lstStyle>
            <a:lvl1pPr>
              <a:defRPr lang="pt-BR" smtClean="0">
                <a:solidFill>
                  <a:srgbClr val="FFFFFF"/>
                </a:solidFill>
              </a:defRPr>
            </a:lvl1pPr>
          </a:lstStyle>
          <a:p>
            <a:r>
              <a:rPr lang="pt-BR"/>
              <a:t>ESK | AR | 16. April 2024 </a:t>
            </a:r>
          </a:p>
        </p:txBody>
      </p:sp>
      <p:sp>
        <p:nvSpPr>
          <p:cNvPr id="4" name="Textplatzhalter 13">
            <a:extLst>
              <a:ext uri="{FF2B5EF4-FFF2-40B4-BE49-F238E27FC236}">
                <a16:creationId xmlns:a16="http://schemas.microsoft.com/office/drawing/2014/main" id="{EFC7D990-96FD-30B4-B34B-D811A33D8EDF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6884" y="995847"/>
            <a:ext cx="9899316" cy="25181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de-DE" sz="1800" b="0" kern="1200" dirty="0">
                <a:solidFill>
                  <a:schemeClr val="tx1"/>
                </a:solidFill>
                <a:effectLst/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r>
              <a:rPr lang="de-DE"/>
              <a:t>Und eine </a:t>
            </a:r>
            <a:r>
              <a:rPr lang="de-DE" err="1"/>
              <a:t>Subline</a:t>
            </a:r>
            <a:r>
              <a:rPr lang="de-DE"/>
              <a:t>.</a:t>
            </a:r>
          </a:p>
        </p:txBody>
      </p:sp>
      <p:sp>
        <p:nvSpPr>
          <p:cNvPr id="7" name="Titel 1">
            <a:extLst>
              <a:ext uri="{FF2B5EF4-FFF2-40B4-BE49-F238E27FC236}">
                <a16:creationId xmlns:a16="http://schemas.microsoft.com/office/drawing/2014/main" id="{C0A8514D-1B32-3890-982A-D822E02CCB2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36884" y="148769"/>
            <a:ext cx="9899316" cy="831959"/>
          </a:xfrm>
          <a:prstGeom prst="rect">
            <a:avLst/>
          </a:prstGeom>
        </p:spPr>
        <p:txBody>
          <a:bodyPr vert="horz" wrap="square" lIns="0" tIns="0" rIns="0" bIns="0" anchor="b" anchorCtr="0">
            <a:noAutofit/>
          </a:bodyPr>
          <a:lstStyle>
            <a:lvl1pPr marL="0" indent="0" algn="l" defTabSz="914400" rtl="0" eaLnBrk="1" latinLnBrk="0" hangingPunct="1">
              <a:lnSpc>
                <a:spcPts val="3250"/>
              </a:lnSpc>
              <a:spcBef>
                <a:spcPts val="0"/>
              </a:spcBef>
              <a:buFont typeface="Arial" panose="020B0604020202020204" pitchFamily="34" charset="0"/>
              <a:buNone/>
              <a:defRPr lang="de-DE" sz="2700" b="1" kern="1200" dirty="0">
                <a:solidFill>
                  <a:schemeClr val="tx1"/>
                </a:solidFill>
                <a:effectLst/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r>
              <a:rPr lang="de-DE"/>
              <a:t>Hier steht eine Headline.</a:t>
            </a:r>
          </a:p>
        </p:txBody>
      </p:sp>
    </p:spTree>
    <p:extLst>
      <p:ext uri="{BB962C8B-B14F-4D97-AF65-F5344CB8AC3E}">
        <p14:creationId xmlns:p14="http://schemas.microsoft.com/office/powerpoint/2010/main" val="868818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pos="6448">
          <p15:clr>
            <a:srgbClr val="FBAE40"/>
          </p15:clr>
        </p15:guide>
        <p15:guide id="4" pos="211">
          <p15:clr>
            <a:srgbClr val="FBAE40"/>
          </p15:clr>
        </p15:guide>
        <p15:guide id="5" orient="horz" pos="3634">
          <p15:clr>
            <a:srgbClr val="FBAE40"/>
          </p15:clr>
        </p15:guide>
        <p15:guide id="6" orient="horz" pos="913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bschluss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" name="Gruppieren 17">
            <a:extLst>
              <a:ext uri="{FF2B5EF4-FFF2-40B4-BE49-F238E27FC236}">
                <a16:creationId xmlns:a16="http://schemas.microsoft.com/office/drawing/2014/main" id="{D8131DB8-958C-087E-3564-C0BA6B379786}"/>
              </a:ext>
            </a:extLst>
          </p:cNvPr>
          <p:cNvGrpSpPr/>
          <p:nvPr userDrawn="1"/>
        </p:nvGrpSpPr>
        <p:grpSpPr>
          <a:xfrm>
            <a:off x="-6019906" y="-6303101"/>
            <a:ext cx="18211906" cy="13746195"/>
            <a:chOff x="-6019906" y="-6303101"/>
            <a:chExt cx="18211906" cy="13746195"/>
          </a:xfrm>
        </p:grpSpPr>
        <p:pic>
          <p:nvPicPr>
            <p:cNvPr id="19" name="Grafik 18">
              <a:extLst>
                <a:ext uri="{FF2B5EF4-FFF2-40B4-BE49-F238E27FC236}">
                  <a16:creationId xmlns:a16="http://schemas.microsoft.com/office/drawing/2014/main" id="{8D80ADB2-DD1E-17E1-219A-442E242D1218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alphaModFix amt="6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4373" t="13251" r="33299" b="44717"/>
            <a:stretch/>
          </p:blipFill>
          <p:spPr>
            <a:xfrm>
              <a:off x="0" y="0"/>
              <a:ext cx="12192000" cy="6858000"/>
            </a:xfrm>
            <a:prstGeom prst="rect">
              <a:avLst/>
            </a:prstGeom>
          </p:spPr>
        </p:pic>
        <p:sp>
          <p:nvSpPr>
            <p:cNvPr id="20" name="Rechteck 19">
              <a:extLst>
                <a:ext uri="{FF2B5EF4-FFF2-40B4-BE49-F238E27FC236}">
                  <a16:creationId xmlns:a16="http://schemas.microsoft.com/office/drawing/2014/main" id="{32E5BA6C-7F7E-7B15-BFA0-B20B2ACB5A96}"/>
                </a:ext>
              </a:extLst>
            </p:cNvPr>
            <p:cNvSpPr/>
            <p:nvPr userDrawn="1"/>
          </p:nvSpPr>
          <p:spPr>
            <a:xfrm rot="2088470">
              <a:off x="-6019906" y="-6303101"/>
              <a:ext cx="9739721" cy="13746195"/>
            </a:xfrm>
            <a:prstGeom prst="rect">
              <a:avLst/>
            </a:prstGeom>
            <a:solidFill>
              <a:srgbClr val="A8D6EE">
                <a:alpha val="37367"/>
              </a:srgbClr>
            </a:solidFill>
            <a:ln>
              <a:noFill/>
            </a:ln>
            <a:effectLst>
              <a:glow rad="1734569">
                <a:srgbClr val="A8D6EE">
                  <a:alpha val="10000"/>
                </a:srgbClr>
              </a:glow>
              <a:softEdge rad="1270000"/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sp>
        <p:nvSpPr>
          <p:cNvPr id="17" name="Rechteck 16">
            <a:extLst>
              <a:ext uri="{FF2B5EF4-FFF2-40B4-BE49-F238E27FC236}">
                <a16:creationId xmlns:a16="http://schemas.microsoft.com/office/drawing/2014/main" id="{BB240426-91D2-45D5-7CFE-D276951DF2BF}"/>
              </a:ext>
            </a:extLst>
          </p:cNvPr>
          <p:cNvSpPr/>
          <p:nvPr userDrawn="1"/>
        </p:nvSpPr>
        <p:spPr>
          <a:xfrm rot="2328509">
            <a:off x="-4318796" y="-5861617"/>
            <a:ext cx="9739721" cy="13746195"/>
          </a:xfrm>
          <a:prstGeom prst="rect">
            <a:avLst/>
          </a:prstGeom>
          <a:solidFill>
            <a:srgbClr val="A8D6EE">
              <a:alpha val="1000"/>
            </a:srgbClr>
          </a:solidFill>
          <a:ln>
            <a:noFill/>
          </a:ln>
          <a:effectLst>
            <a:glow rad="1734569">
              <a:srgbClr val="A8D6EE">
                <a:alpha val="10000"/>
              </a:srgbClr>
            </a:glow>
            <a:softEdge rad="1270000"/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grpSp>
        <p:nvGrpSpPr>
          <p:cNvPr id="14" name="Gruppieren 13">
            <a:extLst>
              <a:ext uri="{FF2B5EF4-FFF2-40B4-BE49-F238E27FC236}">
                <a16:creationId xmlns:a16="http://schemas.microsoft.com/office/drawing/2014/main" id="{FD728FF7-E74E-BA00-2711-4363F2449D74}"/>
              </a:ext>
            </a:extLst>
          </p:cNvPr>
          <p:cNvGrpSpPr/>
          <p:nvPr userDrawn="1"/>
        </p:nvGrpSpPr>
        <p:grpSpPr>
          <a:xfrm>
            <a:off x="3447501" y="1562310"/>
            <a:ext cx="3845715" cy="2216144"/>
            <a:chOff x="5707331" y="3338831"/>
            <a:chExt cx="4793129" cy="2654991"/>
          </a:xfrm>
        </p:grpSpPr>
        <p:grpSp>
          <p:nvGrpSpPr>
            <p:cNvPr id="2" name="Gruppieren 1">
              <a:extLst>
                <a:ext uri="{FF2B5EF4-FFF2-40B4-BE49-F238E27FC236}">
                  <a16:creationId xmlns:a16="http://schemas.microsoft.com/office/drawing/2014/main" id="{1E9C432C-813E-DD77-022C-48251E044DCC}"/>
                </a:ext>
              </a:extLst>
            </p:cNvPr>
            <p:cNvGrpSpPr/>
            <p:nvPr userDrawn="1"/>
          </p:nvGrpSpPr>
          <p:grpSpPr>
            <a:xfrm>
              <a:off x="5707331" y="3338831"/>
              <a:ext cx="4399087" cy="2654991"/>
              <a:chOff x="6577835" y="1983829"/>
              <a:chExt cx="3846503" cy="2321491"/>
            </a:xfrm>
          </p:grpSpPr>
          <p:sp>
            <p:nvSpPr>
              <p:cNvPr id="9" name="Rechteck 8">
                <a:extLst>
                  <a:ext uri="{FF2B5EF4-FFF2-40B4-BE49-F238E27FC236}">
                    <a16:creationId xmlns:a16="http://schemas.microsoft.com/office/drawing/2014/main" id="{11ADF588-093A-67CC-50CA-C06AF9122573}"/>
                  </a:ext>
                </a:extLst>
              </p:cNvPr>
              <p:cNvSpPr/>
              <p:nvPr userDrawn="1"/>
            </p:nvSpPr>
            <p:spPr>
              <a:xfrm>
                <a:off x="6577835" y="1983829"/>
                <a:ext cx="3846503" cy="1504621"/>
              </a:xfrm>
              <a:prstGeom prst="rect">
                <a:avLst/>
              </a:prstGeom>
              <a:solidFill>
                <a:srgbClr val="238A8D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10" name="Rechtwinkliges Dreieck 9">
                <a:extLst>
                  <a:ext uri="{FF2B5EF4-FFF2-40B4-BE49-F238E27FC236}">
                    <a16:creationId xmlns:a16="http://schemas.microsoft.com/office/drawing/2014/main" id="{3FC5449C-0EC3-783B-A0A4-6380CB72FCB3}"/>
                  </a:ext>
                </a:extLst>
              </p:cNvPr>
              <p:cNvSpPr/>
              <p:nvPr userDrawn="1"/>
            </p:nvSpPr>
            <p:spPr>
              <a:xfrm rot="1460047" flipV="1">
                <a:off x="7042870" y="2962951"/>
                <a:ext cx="1122217" cy="1342369"/>
              </a:xfrm>
              <a:prstGeom prst="rtTriangle">
                <a:avLst/>
              </a:prstGeom>
              <a:solidFill>
                <a:srgbClr val="238A8D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</p:grpSp>
        <p:sp>
          <p:nvSpPr>
            <p:cNvPr id="8" name="Textfeld 7">
              <a:extLst>
                <a:ext uri="{FF2B5EF4-FFF2-40B4-BE49-F238E27FC236}">
                  <a16:creationId xmlns:a16="http://schemas.microsoft.com/office/drawing/2014/main" id="{288FB1BE-FDBE-0B2F-D622-0702766A7611}"/>
                </a:ext>
              </a:extLst>
            </p:cNvPr>
            <p:cNvSpPr txBox="1"/>
            <p:nvPr userDrawn="1"/>
          </p:nvSpPr>
          <p:spPr>
            <a:xfrm>
              <a:off x="5967125" y="4462615"/>
              <a:ext cx="4533335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endParaRPr lang="de-DE" sz="1800" b="0" i="0">
                <a:solidFill>
                  <a:schemeClr val="bg1"/>
                </a:solidFill>
                <a:latin typeface="Approach Koeln" pitchFamily="2" charset="0"/>
              </a:endParaRPr>
            </a:p>
          </p:txBody>
        </p:sp>
        <p:sp>
          <p:nvSpPr>
            <p:cNvPr id="13" name="Textfeld 12">
              <a:extLst>
                <a:ext uri="{FF2B5EF4-FFF2-40B4-BE49-F238E27FC236}">
                  <a16:creationId xmlns:a16="http://schemas.microsoft.com/office/drawing/2014/main" id="{4520C820-7D06-60FE-FF5B-EBB64E658B52}"/>
                </a:ext>
              </a:extLst>
            </p:cNvPr>
            <p:cNvSpPr txBox="1"/>
            <p:nvPr userDrawn="1"/>
          </p:nvSpPr>
          <p:spPr>
            <a:xfrm>
              <a:off x="5994964" y="3743605"/>
              <a:ext cx="4025815" cy="7190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3300" b="1" i="0" dirty="0" smtClean="0">
                  <a:solidFill>
                    <a:schemeClr val="bg1"/>
                  </a:solidFill>
                  <a:latin typeface="Approach Koeln" pitchFamily="2" charset="0"/>
                </a:rPr>
                <a:t>Begrüßung</a:t>
              </a:r>
              <a:endParaRPr lang="de-DE" sz="3300" b="1" i="0" dirty="0">
                <a:solidFill>
                  <a:schemeClr val="bg1"/>
                </a:solidFill>
                <a:latin typeface="Approach Koeln" pitchFamily="2" charset="0"/>
              </a:endParaRPr>
            </a:p>
          </p:txBody>
        </p:sp>
      </p:grpSp>
      <p:grpSp>
        <p:nvGrpSpPr>
          <p:cNvPr id="3" name="Gruppieren 2">
            <a:extLst>
              <a:ext uri="{FF2B5EF4-FFF2-40B4-BE49-F238E27FC236}">
                <a16:creationId xmlns:a16="http://schemas.microsoft.com/office/drawing/2014/main" id="{F89A72FD-4478-1A4A-B9D6-993A4148D522}"/>
              </a:ext>
            </a:extLst>
          </p:cNvPr>
          <p:cNvGrpSpPr/>
          <p:nvPr userDrawn="1"/>
        </p:nvGrpSpPr>
        <p:grpSpPr>
          <a:xfrm>
            <a:off x="282578" y="210425"/>
            <a:ext cx="2850036" cy="382306"/>
            <a:chOff x="282578" y="210425"/>
            <a:chExt cx="2850036" cy="382306"/>
          </a:xfrm>
        </p:grpSpPr>
        <p:pic>
          <p:nvPicPr>
            <p:cNvPr id="7" name="Grafik 6">
              <a:extLst>
                <a:ext uri="{FF2B5EF4-FFF2-40B4-BE49-F238E27FC236}">
                  <a16:creationId xmlns:a16="http://schemas.microsoft.com/office/drawing/2014/main" id="{2CF6182B-DD6B-D833-8A28-0F182C8216B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282578" y="210425"/>
              <a:ext cx="1682284" cy="359572"/>
            </a:xfrm>
            <a:prstGeom prst="rect">
              <a:avLst/>
            </a:prstGeom>
          </p:spPr>
        </p:pic>
        <p:pic>
          <p:nvPicPr>
            <p:cNvPr id="15" name="Grafik 14">
              <a:extLst>
                <a:ext uri="{FF2B5EF4-FFF2-40B4-BE49-F238E27FC236}">
                  <a16:creationId xmlns:a16="http://schemas.microsoft.com/office/drawing/2014/main" id="{6AEF568D-278F-3078-7A57-49F73E8E358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334943" y="257118"/>
              <a:ext cx="797671" cy="335613"/>
            </a:xfrm>
            <a:prstGeom prst="rect">
              <a:avLst/>
            </a:prstGeom>
          </p:spPr>
        </p:pic>
      </p:grpSp>
      <p:sp>
        <p:nvSpPr>
          <p:cNvPr id="21" name="Freihandform 20">
            <a:extLst>
              <a:ext uri="{FF2B5EF4-FFF2-40B4-BE49-F238E27FC236}">
                <a16:creationId xmlns:a16="http://schemas.microsoft.com/office/drawing/2014/main" id="{AA4DB27B-1823-C642-45D3-922B0326E596}"/>
              </a:ext>
            </a:extLst>
          </p:cNvPr>
          <p:cNvSpPr/>
          <p:nvPr userDrawn="1"/>
        </p:nvSpPr>
        <p:spPr>
          <a:xfrm>
            <a:off x="-409651" y="2962656"/>
            <a:ext cx="12874752" cy="1974850"/>
          </a:xfrm>
          <a:custGeom>
            <a:avLst/>
            <a:gdLst>
              <a:gd name="connsiteX0" fmla="*/ 0 w 12874752"/>
              <a:gd name="connsiteY0" fmla="*/ 1002182 h 1974850"/>
              <a:gd name="connsiteX1" fmla="*/ 365760 w 12874752"/>
              <a:gd name="connsiteY1" fmla="*/ 1199693 h 1974850"/>
              <a:gd name="connsiteX2" fmla="*/ 1163117 w 12874752"/>
              <a:gd name="connsiteY2" fmla="*/ 1272845 h 1974850"/>
              <a:gd name="connsiteX3" fmla="*/ 2596896 w 12874752"/>
              <a:gd name="connsiteY3" fmla="*/ 1272845 h 1974850"/>
              <a:gd name="connsiteX4" fmla="*/ 3094329 w 12874752"/>
              <a:gd name="connsiteY4" fmla="*/ 1280160 h 1974850"/>
              <a:gd name="connsiteX5" fmla="*/ 3803904 w 12874752"/>
              <a:gd name="connsiteY5" fmla="*/ 1353312 h 1974850"/>
              <a:gd name="connsiteX6" fmla="*/ 4864608 w 12874752"/>
              <a:gd name="connsiteY6" fmla="*/ 1631290 h 1974850"/>
              <a:gd name="connsiteX7" fmla="*/ 5837529 w 12874752"/>
              <a:gd name="connsiteY7" fmla="*/ 1923898 h 1974850"/>
              <a:gd name="connsiteX8" fmla="*/ 6671462 w 12874752"/>
              <a:gd name="connsiteY8" fmla="*/ 1967789 h 1974850"/>
              <a:gd name="connsiteX9" fmla="*/ 8046720 w 12874752"/>
              <a:gd name="connsiteY9" fmla="*/ 1843430 h 1974850"/>
              <a:gd name="connsiteX10" fmla="*/ 8990381 w 12874752"/>
              <a:gd name="connsiteY10" fmla="*/ 1741018 h 1974850"/>
              <a:gd name="connsiteX11" fmla="*/ 9970617 w 12874752"/>
              <a:gd name="connsiteY11" fmla="*/ 1506931 h 1974850"/>
              <a:gd name="connsiteX12" fmla="*/ 11016691 w 12874752"/>
              <a:gd name="connsiteY12" fmla="*/ 1068019 h 1974850"/>
              <a:gd name="connsiteX13" fmla="*/ 12084710 w 12874752"/>
              <a:gd name="connsiteY13" fmla="*/ 409651 h 1974850"/>
              <a:gd name="connsiteX14" fmla="*/ 12874752 w 12874752"/>
              <a:gd name="connsiteY14" fmla="*/ 0 h 1974850"/>
              <a:gd name="connsiteX15" fmla="*/ 12874752 w 12874752"/>
              <a:gd name="connsiteY15" fmla="*/ 0 h 19748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2874752" h="1974850">
                <a:moveTo>
                  <a:pt x="0" y="1002182"/>
                </a:moveTo>
                <a:cubicBezTo>
                  <a:pt x="85953" y="1078382"/>
                  <a:pt x="171907" y="1154583"/>
                  <a:pt x="365760" y="1199693"/>
                </a:cubicBezTo>
                <a:cubicBezTo>
                  <a:pt x="559613" y="1244804"/>
                  <a:pt x="791261" y="1260653"/>
                  <a:pt x="1163117" y="1272845"/>
                </a:cubicBezTo>
                <a:cubicBezTo>
                  <a:pt x="1534973" y="1285037"/>
                  <a:pt x="2275027" y="1271626"/>
                  <a:pt x="2596896" y="1272845"/>
                </a:cubicBezTo>
                <a:cubicBezTo>
                  <a:pt x="2918765" y="1274064"/>
                  <a:pt x="2893161" y="1266749"/>
                  <a:pt x="3094329" y="1280160"/>
                </a:cubicBezTo>
                <a:cubicBezTo>
                  <a:pt x="3295497" y="1293571"/>
                  <a:pt x="3508858" y="1294790"/>
                  <a:pt x="3803904" y="1353312"/>
                </a:cubicBezTo>
                <a:cubicBezTo>
                  <a:pt x="4098950" y="1411834"/>
                  <a:pt x="4525671" y="1536192"/>
                  <a:pt x="4864608" y="1631290"/>
                </a:cubicBezTo>
                <a:cubicBezTo>
                  <a:pt x="5203545" y="1726388"/>
                  <a:pt x="5536387" y="1867815"/>
                  <a:pt x="5837529" y="1923898"/>
                </a:cubicBezTo>
                <a:cubicBezTo>
                  <a:pt x="6138671" y="1979981"/>
                  <a:pt x="6303264" y="1981200"/>
                  <a:pt x="6671462" y="1967789"/>
                </a:cubicBezTo>
                <a:cubicBezTo>
                  <a:pt x="7039660" y="1954378"/>
                  <a:pt x="7660234" y="1881225"/>
                  <a:pt x="8046720" y="1843430"/>
                </a:cubicBezTo>
                <a:cubicBezTo>
                  <a:pt x="8433206" y="1805635"/>
                  <a:pt x="8669732" y="1797101"/>
                  <a:pt x="8990381" y="1741018"/>
                </a:cubicBezTo>
                <a:cubicBezTo>
                  <a:pt x="9311030" y="1684935"/>
                  <a:pt x="9632899" y="1619097"/>
                  <a:pt x="9970617" y="1506931"/>
                </a:cubicBezTo>
                <a:cubicBezTo>
                  <a:pt x="10308335" y="1394765"/>
                  <a:pt x="10664342" y="1250899"/>
                  <a:pt x="11016691" y="1068019"/>
                </a:cubicBezTo>
                <a:cubicBezTo>
                  <a:pt x="11369040" y="885139"/>
                  <a:pt x="11775033" y="587654"/>
                  <a:pt x="12084710" y="409651"/>
                </a:cubicBezTo>
                <a:cubicBezTo>
                  <a:pt x="12394387" y="231648"/>
                  <a:pt x="12874752" y="0"/>
                  <a:pt x="12874752" y="0"/>
                </a:cubicBezTo>
                <a:lnTo>
                  <a:pt x="12874752" y="0"/>
                </a:lnTo>
              </a:path>
            </a:pathLst>
          </a:custGeom>
          <a:noFill/>
          <a:ln w="101600" cmpd="dbl">
            <a:solidFill>
              <a:srgbClr val="E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6" name="Oval 16">
            <a:extLst>
              <a:ext uri="{FF2B5EF4-FFF2-40B4-BE49-F238E27FC236}">
                <a16:creationId xmlns:a16="http://schemas.microsoft.com/office/drawing/2014/main" id="{C21A29E8-A818-2ECA-D3D2-027B9A538CBD}"/>
              </a:ext>
            </a:extLst>
          </p:cNvPr>
          <p:cNvSpPr/>
          <p:nvPr userDrawn="1"/>
        </p:nvSpPr>
        <p:spPr>
          <a:xfrm>
            <a:off x="2817715" y="3426598"/>
            <a:ext cx="629786" cy="629786"/>
          </a:xfrm>
          <a:prstGeom prst="ellipse">
            <a:avLst/>
          </a:prstGeom>
          <a:solidFill>
            <a:srgbClr val="238A8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3300" b="1">
                <a:solidFill>
                  <a:schemeClr val="bg1"/>
                </a:solidFill>
                <a:latin typeface="Approach Koeln"/>
              </a:rPr>
              <a:t>1</a:t>
            </a:r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D6B4C234-6D3D-3EF3-9707-C30E1E8C389A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2817715" y="3429000"/>
            <a:ext cx="2060659" cy="1885284"/>
          </a:xfrm>
          <a:prstGeom prst="rect">
            <a:avLst/>
          </a:prstGeom>
        </p:spPr>
      </p:pic>
      <p:sp>
        <p:nvSpPr>
          <p:cNvPr id="22" name="Textfeld 21">
            <a:extLst>
              <a:ext uri="{FF2B5EF4-FFF2-40B4-BE49-F238E27FC236}">
                <a16:creationId xmlns:a16="http://schemas.microsoft.com/office/drawing/2014/main" id="{D2E1528F-AE0B-CDE8-322D-DADBCCF6C8C1}"/>
              </a:ext>
            </a:extLst>
          </p:cNvPr>
          <p:cNvSpPr txBox="1"/>
          <p:nvPr userDrawn="1"/>
        </p:nvSpPr>
        <p:spPr>
          <a:xfrm>
            <a:off x="825503" y="6339798"/>
            <a:ext cx="8191781" cy="307777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algn="l"/>
            <a:endParaRPr lang="de-DE" sz="1000" b="0" i="0">
              <a:solidFill>
                <a:srgbClr val="FF0000"/>
              </a:solidFill>
              <a:latin typeface="Approach Koeln SemiBold" pitchFamily="2" charset="0"/>
            </a:endParaRPr>
          </a:p>
          <a:p>
            <a:pPr algn="l"/>
            <a:r>
              <a:rPr lang="de-DE" sz="1000" b="0" i="0">
                <a:solidFill>
                  <a:srgbClr val="FF0000"/>
                </a:solidFill>
                <a:latin typeface="Approach Koeln SemiBold" pitchFamily="2" charset="0"/>
              </a:rPr>
              <a:t>Kölner Verkehrs-Betriebe AG</a:t>
            </a:r>
            <a:endParaRPr lang="de-DE" sz="1000" b="0" i="0">
              <a:solidFill>
                <a:srgbClr val="FF0000"/>
              </a:solidFill>
              <a:latin typeface="Approach Koeln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8925759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hteck 10">
            <a:extLst>
              <a:ext uri="{FF2B5EF4-FFF2-40B4-BE49-F238E27FC236}">
                <a16:creationId xmlns:a16="http://schemas.microsoft.com/office/drawing/2014/main" id="{9EDB2AE7-A0BE-7D44-BE37-DE8DF512E42A}"/>
              </a:ext>
            </a:extLst>
          </p:cNvPr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D1856CCD-4E45-0A49-8045-DD7DFDC61E31}"/>
              </a:ext>
            </a:extLst>
          </p:cNvPr>
          <p:cNvSpPr/>
          <p:nvPr userDrawn="1"/>
        </p:nvSpPr>
        <p:spPr>
          <a:xfrm>
            <a:off x="9143998" y="0"/>
            <a:ext cx="3048001" cy="3430800"/>
          </a:xfrm>
          <a:prstGeom prst="rect">
            <a:avLst/>
          </a:prstGeom>
          <a:solidFill>
            <a:srgbClr val="EE9E9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9" name="Rechteck 18">
            <a:extLst>
              <a:ext uri="{FF2B5EF4-FFF2-40B4-BE49-F238E27FC236}">
                <a16:creationId xmlns:a16="http://schemas.microsoft.com/office/drawing/2014/main" id="{DB6FCD46-EF68-1A40-B7ED-8183DA6BF98C}"/>
              </a:ext>
            </a:extLst>
          </p:cNvPr>
          <p:cNvSpPr/>
          <p:nvPr userDrawn="1"/>
        </p:nvSpPr>
        <p:spPr>
          <a:xfrm>
            <a:off x="9143998" y="3425399"/>
            <a:ext cx="3049200" cy="34308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D3B0DBC-F23D-F34F-B424-CEC78FD7DE2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32000" y="812193"/>
            <a:ext cx="6682478" cy="2263169"/>
          </a:xfrm>
          <a:prstGeom prst="rect">
            <a:avLst/>
          </a:prstGeom>
        </p:spPr>
        <p:txBody>
          <a:bodyPr wrap="square" lIns="0" tIns="0" rIns="0" bIns="0" anchor="b" anchorCtr="0">
            <a:noAutofit/>
          </a:bodyPr>
          <a:lstStyle>
            <a:lvl1pPr algn="l">
              <a:defRPr sz="7000" b="1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de-DE"/>
              <a:t>Hier steht eine</a:t>
            </a:r>
            <a:br>
              <a:rPr lang="de-DE"/>
            </a:br>
            <a:r>
              <a:rPr lang="de-DE"/>
              <a:t>Titel-Headline.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161DD0A1-F82B-AB4C-BFF0-817CF351BF3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32000" y="3330855"/>
            <a:ext cx="6682478" cy="94744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ts val="3800"/>
              </a:lnSpc>
              <a:spcBef>
                <a:spcPts val="0"/>
              </a:spcBef>
              <a:buNone/>
              <a:defRPr lang="de-DE" sz="2800" smtClean="0">
                <a:solidFill>
                  <a:schemeClr val="bg1"/>
                </a:solidFill>
                <a:effectLst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>
                <a:effectLst/>
                <a:latin typeface="Calibri" panose="020F0502020204030204" pitchFamily="34" charset="0"/>
              </a:rPr>
              <a:t>Und hier eine kurze </a:t>
            </a:r>
            <a:r>
              <a:rPr lang="de-DE" err="1">
                <a:effectLst/>
                <a:latin typeface="Calibri" panose="020F0502020204030204" pitchFamily="34" charset="0"/>
              </a:rPr>
              <a:t>Subline</a:t>
            </a:r>
            <a:r>
              <a:rPr lang="de-DE">
                <a:effectLst/>
                <a:latin typeface="Calibri" panose="020F0502020204030204" pitchFamily="34" charset="0"/>
              </a:rPr>
              <a:t>, </a:t>
            </a:r>
            <a:br>
              <a:rPr lang="de-DE">
                <a:effectLst/>
                <a:latin typeface="Calibri" panose="020F0502020204030204" pitchFamily="34" charset="0"/>
              </a:rPr>
            </a:br>
            <a:r>
              <a:rPr lang="de-DE">
                <a:effectLst/>
                <a:latin typeface="Calibri" panose="020F0502020204030204" pitchFamily="34" charset="0"/>
              </a:rPr>
              <a:t>die auch etwas länger sein kann.</a:t>
            </a: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CE6DE234-EF24-E54D-B317-DBB0D3F301C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905398" y="4819098"/>
            <a:ext cx="1526400" cy="643403"/>
          </a:xfrm>
          <a:prstGeom prst="rect">
            <a:avLst/>
          </a:prstGeom>
        </p:spPr>
      </p:pic>
      <p:sp>
        <p:nvSpPr>
          <p:cNvPr id="14" name="Textplatzhalter 5">
            <a:extLst>
              <a:ext uri="{FF2B5EF4-FFF2-40B4-BE49-F238E27FC236}">
                <a16:creationId xmlns:a16="http://schemas.microsoft.com/office/drawing/2014/main" id="{5E7FAEB6-3C1F-6845-BF13-AAFD9264D07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32000" y="5522163"/>
            <a:ext cx="6682478" cy="1006475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>
              <a:lnSpc>
                <a:spcPts val="1700"/>
              </a:lnSpc>
              <a:spcBef>
                <a:spcPts val="0"/>
              </a:spcBef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fld id="{183805BD-329F-9D47-9856-E0C671158335}" type="datetime4">
              <a:rPr lang="de-DE" smtClean="0"/>
              <a:t>19. Januar 2022</a:t>
            </a:fld>
            <a:r>
              <a:rPr lang="de-DE"/>
              <a:t/>
            </a:r>
            <a:br>
              <a:rPr lang="de-DE"/>
            </a:br>
            <a:r>
              <a:rPr lang="de-DE"/>
              <a:t>Maxim Muster</a:t>
            </a:r>
            <a:br>
              <a:rPr lang="de-DE"/>
            </a:br>
            <a:r>
              <a:rPr lang="de-DE"/>
              <a:t>Veranstaltung</a:t>
            </a:r>
          </a:p>
        </p:txBody>
      </p:sp>
    </p:spTree>
    <p:extLst>
      <p:ext uri="{BB962C8B-B14F-4D97-AF65-F5344CB8AC3E}">
        <p14:creationId xmlns:p14="http://schemas.microsoft.com/office/powerpoint/2010/main" val="33521122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FAAB368-AC41-7260-9C52-0D91129103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5D02AB9A-32D7-D4CB-77F8-9AC42C0A574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pt-BR"/>
              <a:t>ESK | AR | 16. April 2024 </a:t>
            </a:r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A4EA1D09-AFB8-7D92-F465-567BFD41CA3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B209542-CF8F-4CEE-921E-77928553DA4F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51067598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ild – vollflächig (mit Störe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FD53FE73-4553-7744-9401-77005DAE069C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0" y="11866"/>
            <a:ext cx="10564799" cy="6000134"/>
          </a:xfrm>
          <a:prstGeom prst="rect">
            <a:avLst/>
          </a:prstGeom>
        </p:spPr>
        <p:txBody>
          <a:bodyPr tIns="792000" anchor="ctr" anchorCtr="0"/>
          <a:lstStyle>
            <a:lvl1pPr marL="0" indent="0" algn="ctr">
              <a:buNone/>
              <a:defRPr sz="12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r>
              <a:rPr lang="de-DE"/>
              <a:t>Bild einfügen</a:t>
            </a: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366B6891-89DD-B846-99D4-80B152E58D82}"/>
              </a:ext>
            </a:extLst>
          </p:cNvPr>
          <p:cNvSpPr/>
          <p:nvPr userDrawn="1"/>
        </p:nvSpPr>
        <p:spPr>
          <a:xfrm>
            <a:off x="0" y="6001200"/>
            <a:ext cx="10564799" cy="8568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9" name="Textplatzhalter 17">
            <a:extLst>
              <a:ext uri="{FF2B5EF4-FFF2-40B4-BE49-F238E27FC236}">
                <a16:creationId xmlns:a16="http://schemas.microsoft.com/office/drawing/2014/main" id="{C74A09C3-BE68-F245-963F-EE51FEFF7066}"/>
              </a:ext>
            </a:extLst>
          </p:cNvPr>
          <p:cNvSpPr>
            <a:spLocks noGrp="1" noChangeAspect="1"/>
          </p:cNvSpPr>
          <p:nvPr>
            <p:ph type="body" sz="quarter" idx="14" hasCustomPrompt="1"/>
          </p:nvPr>
        </p:nvSpPr>
        <p:spPr>
          <a:xfrm>
            <a:off x="658800" y="697476"/>
            <a:ext cx="2304000" cy="2303124"/>
          </a:xfrm>
          <a:prstGeom prst="ellipse">
            <a:avLst/>
          </a:prstGeom>
          <a:solidFill>
            <a:schemeClr val="accent6"/>
          </a:solidFill>
        </p:spPr>
        <p:txBody>
          <a:bodyPr lIns="0" tIns="0" rIns="0" bIns="0" anchor="ctr" anchorCtr="0">
            <a:normAutofit/>
          </a:bodyPr>
          <a:lstStyle>
            <a:lvl1pPr marL="0" indent="0" algn="ctr">
              <a:lnSpc>
                <a:spcPts val="2300"/>
              </a:lnSpc>
              <a:spcBef>
                <a:spcPts val="0"/>
              </a:spcBef>
              <a:buNone/>
              <a:defRPr lang="de-DE" sz="1900" smtClean="0">
                <a:solidFill>
                  <a:schemeClr val="bg1"/>
                </a:solidFill>
                <a:effectLst/>
              </a:defRPr>
            </a:lvl1pPr>
          </a:lstStyle>
          <a:p>
            <a:r>
              <a:rPr lang="de-DE">
                <a:effectLst/>
                <a:latin typeface="Calibri" panose="020F0502020204030204" pitchFamily="34" charset="0"/>
              </a:rPr>
              <a:t>Hier kann </a:t>
            </a:r>
            <a:br>
              <a:rPr lang="de-DE">
                <a:effectLst/>
                <a:latin typeface="Calibri" panose="020F0502020204030204" pitchFamily="34" charset="0"/>
              </a:rPr>
            </a:br>
            <a:r>
              <a:rPr lang="de-DE">
                <a:effectLst/>
                <a:latin typeface="Calibri" panose="020F0502020204030204" pitchFamily="34" charset="0"/>
              </a:rPr>
              <a:t>auch eine kurze </a:t>
            </a:r>
            <a:br>
              <a:rPr lang="de-DE">
                <a:effectLst/>
                <a:latin typeface="Calibri" panose="020F0502020204030204" pitchFamily="34" charset="0"/>
              </a:rPr>
            </a:br>
            <a:r>
              <a:rPr lang="de-DE">
                <a:effectLst/>
                <a:latin typeface="Calibri" panose="020F0502020204030204" pitchFamily="34" charset="0"/>
              </a:rPr>
              <a:t>Information zum Bild stehen.</a:t>
            </a:r>
          </a:p>
        </p:txBody>
      </p:sp>
      <p:sp>
        <p:nvSpPr>
          <p:cNvPr id="13" name="Textfeld 12">
            <a:extLst>
              <a:ext uri="{FF2B5EF4-FFF2-40B4-BE49-F238E27FC236}">
                <a16:creationId xmlns:a16="http://schemas.microsoft.com/office/drawing/2014/main" id="{7B3936D7-F7F8-7040-8138-5D6195C4F7E3}"/>
              </a:ext>
            </a:extLst>
          </p:cNvPr>
          <p:cNvSpPr txBox="1"/>
          <p:nvPr userDrawn="1"/>
        </p:nvSpPr>
        <p:spPr>
          <a:xfrm>
            <a:off x="432000" y="6343200"/>
            <a:ext cx="872664" cy="184666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fld id="{EEC84336-3956-264C-9C65-1156880DC32F}" type="slidenum">
              <a:rPr lang="de-DE" sz="1200" smtClean="0">
                <a:solidFill>
                  <a:schemeClr val="bg1"/>
                </a:solidFill>
              </a:rPr>
              <a:t>‹Nr.›</a:t>
            </a:fld>
            <a:endParaRPr lang="de-DE" sz="1200">
              <a:solidFill>
                <a:schemeClr val="bg1"/>
              </a:solidFill>
            </a:endParaRP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7E74C822-7881-1942-B8D7-301060876D1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10996800" y="6268749"/>
            <a:ext cx="763200" cy="321701"/>
          </a:xfrm>
          <a:prstGeom prst="rect">
            <a:avLst/>
          </a:prstGeom>
        </p:spPr>
      </p:pic>
      <p:sp>
        <p:nvSpPr>
          <p:cNvPr id="10" name="Rechteck 9">
            <a:extLst>
              <a:ext uri="{FF2B5EF4-FFF2-40B4-BE49-F238E27FC236}">
                <a16:creationId xmlns:a16="http://schemas.microsoft.com/office/drawing/2014/main" id="{A6E06EE0-8849-4C42-B87D-5794EA5F7C24}"/>
              </a:ext>
            </a:extLst>
          </p:cNvPr>
          <p:cNvSpPr/>
          <p:nvPr userDrawn="1"/>
        </p:nvSpPr>
        <p:spPr>
          <a:xfrm>
            <a:off x="10567977" y="0"/>
            <a:ext cx="1624024" cy="6001202"/>
          </a:xfrm>
          <a:prstGeom prst="rect">
            <a:avLst/>
          </a:prstGeom>
          <a:solidFill>
            <a:srgbClr val="EE9E9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28924602-DA7F-994B-A6C8-E4DE532A8B0F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/>
        <p:txBody>
          <a:bodyPr/>
          <a:lstStyle/>
          <a:p>
            <a:r>
              <a:rPr lang="pt-BR"/>
              <a:t>ESK | AR | 16. April 2024 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6619313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Abschluss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" name="Gruppieren 17">
            <a:extLst>
              <a:ext uri="{FF2B5EF4-FFF2-40B4-BE49-F238E27FC236}">
                <a16:creationId xmlns:a16="http://schemas.microsoft.com/office/drawing/2014/main" id="{F7F78FB0-7734-6F8F-6554-42B13F3137DF}"/>
              </a:ext>
            </a:extLst>
          </p:cNvPr>
          <p:cNvGrpSpPr/>
          <p:nvPr userDrawn="1"/>
        </p:nvGrpSpPr>
        <p:grpSpPr>
          <a:xfrm>
            <a:off x="-6019906" y="-6303101"/>
            <a:ext cx="18211906" cy="13746195"/>
            <a:chOff x="-6019906" y="-6303101"/>
            <a:chExt cx="18211906" cy="13746195"/>
          </a:xfrm>
        </p:grpSpPr>
        <p:pic>
          <p:nvPicPr>
            <p:cNvPr id="19" name="Grafik 18">
              <a:extLst>
                <a:ext uri="{FF2B5EF4-FFF2-40B4-BE49-F238E27FC236}">
                  <a16:creationId xmlns:a16="http://schemas.microsoft.com/office/drawing/2014/main" id="{E2C460F7-9282-5B92-E7B4-98716D6DE27C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alphaModFix amt="6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4373" t="13251" r="33299" b="44717"/>
            <a:stretch/>
          </p:blipFill>
          <p:spPr>
            <a:xfrm>
              <a:off x="0" y="0"/>
              <a:ext cx="12192000" cy="6858000"/>
            </a:xfrm>
            <a:prstGeom prst="rect">
              <a:avLst/>
            </a:prstGeom>
          </p:spPr>
        </p:pic>
        <p:sp>
          <p:nvSpPr>
            <p:cNvPr id="20" name="Rechteck 19">
              <a:extLst>
                <a:ext uri="{FF2B5EF4-FFF2-40B4-BE49-F238E27FC236}">
                  <a16:creationId xmlns:a16="http://schemas.microsoft.com/office/drawing/2014/main" id="{1609CA8E-314D-B36B-BEAA-A1AF00F8DF50}"/>
                </a:ext>
              </a:extLst>
            </p:cNvPr>
            <p:cNvSpPr/>
            <p:nvPr userDrawn="1"/>
          </p:nvSpPr>
          <p:spPr>
            <a:xfrm rot="2088470">
              <a:off x="-6019906" y="-6303101"/>
              <a:ext cx="9739721" cy="13746195"/>
            </a:xfrm>
            <a:prstGeom prst="rect">
              <a:avLst/>
            </a:prstGeom>
            <a:solidFill>
              <a:srgbClr val="A8D6EE">
                <a:alpha val="37367"/>
              </a:srgbClr>
            </a:solidFill>
            <a:ln>
              <a:noFill/>
            </a:ln>
            <a:effectLst>
              <a:glow rad="1734569">
                <a:srgbClr val="A8D6EE">
                  <a:alpha val="10000"/>
                </a:srgbClr>
              </a:glow>
              <a:softEdge rad="1270000"/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grpSp>
        <p:nvGrpSpPr>
          <p:cNvPr id="14" name="Gruppieren 13">
            <a:extLst>
              <a:ext uri="{FF2B5EF4-FFF2-40B4-BE49-F238E27FC236}">
                <a16:creationId xmlns:a16="http://schemas.microsoft.com/office/drawing/2014/main" id="{FD728FF7-E74E-BA00-2711-4363F2449D74}"/>
              </a:ext>
            </a:extLst>
          </p:cNvPr>
          <p:cNvGrpSpPr/>
          <p:nvPr userDrawn="1"/>
        </p:nvGrpSpPr>
        <p:grpSpPr>
          <a:xfrm>
            <a:off x="4004966" y="1103513"/>
            <a:ext cx="6352968" cy="3101144"/>
            <a:chOff x="5707331" y="2240464"/>
            <a:chExt cx="7918059" cy="3715240"/>
          </a:xfrm>
        </p:grpSpPr>
        <p:grpSp>
          <p:nvGrpSpPr>
            <p:cNvPr id="2" name="Gruppieren 1">
              <a:extLst>
                <a:ext uri="{FF2B5EF4-FFF2-40B4-BE49-F238E27FC236}">
                  <a16:creationId xmlns:a16="http://schemas.microsoft.com/office/drawing/2014/main" id="{1E9C432C-813E-DD77-022C-48251E044DCC}"/>
                </a:ext>
              </a:extLst>
            </p:cNvPr>
            <p:cNvGrpSpPr/>
            <p:nvPr userDrawn="1"/>
          </p:nvGrpSpPr>
          <p:grpSpPr>
            <a:xfrm>
              <a:off x="5707331" y="2240464"/>
              <a:ext cx="7918059" cy="3715240"/>
              <a:chOff x="6577835" y="1023430"/>
              <a:chExt cx="6923446" cy="3248560"/>
            </a:xfrm>
          </p:grpSpPr>
          <p:sp>
            <p:nvSpPr>
              <p:cNvPr id="9" name="Rechteck 8">
                <a:extLst>
                  <a:ext uri="{FF2B5EF4-FFF2-40B4-BE49-F238E27FC236}">
                    <a16:creationId xmlns:a16="http://schemas.microsoft.com/office/drawing/2014/main" id="{11ADF588-093A-67CC-50CA-C06AF9122573}"/>
                  </a:ext>
                </a:extLst>
              </p:cNvPr>
              <p:cNvSpPr/>
              <p:nvPr userDrawn="1"/>
            </p:nvSpPr>
            <p:spPr>
              <a:xfrm>
                <a:off x="6577835" y="1023430"/>
                <a:ext cx="6923446" cy="2265963"/>
              </a:xfrm>
              <a:prstGeom prst="rect">
                <a:avLst/>
              </a:prstGeom>
              <a:solidFill>
                <a:srgbClr val="238A8D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10" name="Rechtwinkliges Dreieck 9">
                <a:extLst>
                  <a:ext uri="{FF2B5EF4-FFF2-40B4-BE49-F238E27FC236}">
                    <a16:creationId xmlns:a16="http://schemas.microsoft.com/office/drawing/2014/main" id="{3FC5449C-0EC3-783B-A0A4-6380CB72FCB3}"/>
                  </a:ext>
                </a:extLst>
              </p:cNvPr>
              <p:cNvSpPr/>
              <p:nvPr userDrawn="1"/>
            </p:nvSpPr>
            <p:spPr>
              <a:xfrm rot="1460047" flipV="1">
                <a:off x="8160240" y="2929621"/>
                <a:ext cx="1122217" cy="1342369"/>
              </a:xfrm>
              <a:prstGeom prst="rtTriangle">
                <a:avLst/>
              </a:prstGeom>
              <a:solidFill>
                <a:srgbClr val="238A8D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</p:grpSp>
        <p:sp>
          <p:nvSpPr>
            <p:cNvPr id="8" name="Textfeld 7">
              <a:extLst>
                <a:ext uri="{FF2B5EF4-FFF2-40B4-BE49-F238E27FC236}">
                  <a16:creationId xmlns:a16="http://schemas.microsoft.com/office/drawing/2014/main" id="{288FB1BE-FDBE-0B2F-D622-0702766A7611}"/>
                </a:ext>
              </a:extLst>
            </p:cNvPr>
            <p:cNvSpPr txBox="1"/>
            <p:nvPr userDrawn="1"/>
          </p:nvSpPr>
          <p:spPr>
            <a:xfrm>
              <a:off x="5967125" y="4462615"/>
              <a:ext cx="4533335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endParaRPr lang="de-DE" sz="1800" b="0" i="0">
                <a:solidFill>
                  <a:schemeClr val="bg1"/>
                </a:solidFill>
                <a:latin typeface="Approach Koeln" pitchFamily="2" charset="0"/>
              </a:endParaRPr>
            </a:p>
          </p:txBody>
        </p:sp>
        <p:sp>
          <p:nvSpPr>
            <p:cNvPr id="13" name="Textfeld 12">
              <a:extLst>
                <a:ext uri="{FF2B5EF4-FFF2-40B4-BE49-F238E27FC236}">
                  <a16:creationId xmlns:a16="http://schemas.microsoft.com/office/drawing/2014/main" id="{4520C820-7D06-60FE-FF5B-EBB64E658B52}"/>
                </a:ext>
              </a:extLst>
            </p:cNvPr>
            <p:cNvSpPr txBox="1"/>
            <p:nvPr userDrawn="1"/>
          </p:nvSpPr>
          <p:spPr>
            <a:xfrm>
              <a:off x="5997116" y="2567848"/>
              <a:ext cx="7408337" cy="193671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ts val="4000"/>
                </a:lnSpc>
              </a:pPr>
              <a:r>
                <a:rPr lang="de-DE" sz="3200" b="1">
                  <a:solidFill>
                    <a:schemeClr val="bg1"/>
                  </a:solidFill>
                  <a:latin typeface="Approach Koeln"/>
                  <a:ea typeface="Verdana"/>
                  <a:cs typeface="Arial"/>
                </a:rPr>
                <a:t>Vorstellen der Planungen </a:t>
              </a:r>
              <a:br>
                <a:rPr lang="de-DE" sz="3200" b="1">
                  <a:solidFill>
                    <a:schemeClr val="bg1"/>
                  </a:solidFill>
                  <a:latin typeface="Approach Koeln"/>
                  <a:ea typeface="Verdana"/>
                  <a:cs typeface="Arial"/>
                </a:rPr>
              </a:br>
              <a:r>
                <a:rPr lang="de-DE" sz="3200" b="0" i="0">
                  <a:solidFill>
                    <a:schemeClr val="bg1"/>
                  </a:solidFill>
                  <a:latin typeface="Approach Koeln" pitchFamily="2" charset="0"/>
                  <a:ea typeface="Verdana"/>
                  <a:cs typeface="Arial"/>
                </a:rPr>
                <a:t>zum Umbau der Haltestellen im rechtsrheinischen Abschnitt</a:t>
              </a:r>
            </a:p>
          </p:txBody>
        </p:sp>
      </p:grpSp>
      <p:grpSp>
        <p:nvGrpSpPr>
          <p:cNvPr id="3" name="Gruppieren 2">
            <a:extLst>
              <a:ext uri="{FF2B5EF4-FFF2-40B4-BE49-F238E27FC236}">
                <a16:creationId xmlns:a16="http://schemas.microsoft.com/office/drawing/2014/main" id="{71391DAC-D824-42A7-8029-0568B22EBA3D}"/>
              </a:ext>
            </a:extLst>
          </p:cNvPr>
          <p:cNvGrpSpPr/>
          <p:nvPr userDrawn="1"/>
        </p:nvGrpSpPr>
        <p:grpSpPr>
          <a:xfrm>
            <a:off x="282578" y="210425"/>
            <a:ext cx="2850036" cy="382306"/>
            <a:chOff x="282578" y="210425"/>
            <a:chExt cx="2850036" cy="382306"/>
          </a:xfrm>
        </p:grpSpPr>
        <p:pic>
          <p:nvPicPr>
            <p:cNvPr id="7" name="Grafik 6">
              <a:extLst>
                <a:ext uri="{FF2B5EF4-FFF2-40B4-BE49-F238E27FC236}">
                  <a16:creationId xmlns:a16="http://schemas.microsoft.com/office/drawing/2014/main" id="{091A0D15-18FC-AE8F-B1F1-23E88DD65C9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282578" y="210425"/>
              <a:ext cx="1682284" cy="359572"/>
            </a:xfrm>
            <a:prstGeom prst="rect">
              <a:avLst/>
            </a:prstGeom>
          </p:spPr>
        </p:pic>
        <p:pic>
          <p:nvPicPr>
            <p:cNvPr id="15" name="Grafik 14">
              <a:extLst>
                <a:ext uri="{FF2B5EF4-FFF2-40B4-BE49-F238E27FC236}">
                  <a16:creationId xmlns:a16="http://schemas.microsoft.com/office/drawing/2014/main" id="{B6C571A4-EEA7-9423-85D1-DD2F1A0669B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334943" y="257118"/>
              <a:ext cx="797671" cy="335613"/>
            </a:xfrm>
            <a:prstGeom prst="rect">
              <a:avLst/>
            </a:prstGeom>
          </p:spPr>
        </p:pic>
      </p:grpSp>
      <p:sp>
        <p:nvSpPr>
          <p:cNvPr id="17" name="Freihandform 16">
            <a:extLst>
              <a:ext uri="{FF2B5EF4-FFF2-40B4-BE49-F238E27FC236}">
                <a16:creationId xmlns:a16="http://schemas.microsoft.com/office/drawing/2014/main" id="{D89AA9AC-3936-1A51-98F5-47CF61172162}"/>
              </a:ext>
            </a:extLst>
          </p:cNvPr>
          <p:cNvSpPr/>
          <p:nvPr userDrawn="1"/>
        </p:nvSpPr>
        <p:spPr>
          <a:xfrm>
            <a:off x="-409651" y="2962656"/>
            <a:ext cx="12874752" cy="1974850"/>
          </a:xfrm>
          <a:custGeom>
            <a:avLst/>
            <a:gdLst>
              <a:gd name="connsiteX0" fmla="*/ 0 w 12874752"/>
              <a:gd name="connsiteY0" fmla="*/ 1002182 h 1974850"/>
              <a:gd name="connsiteX1" fmla="*/ 365760 w 12874752"/>
              <a:gd name="connsiteY1" fmla="*/ 1199693 h 1974850"/>
              <a:gd name="connsiteX2" fmla="*/ 1163117 w 12874752"/>
              <a:gd name="connsiteY2" fmla="*/ 1272845 h 1974850"/>
              <a:gd name="connsiteX3" fmla="*/ 2596896 w 12874752"/>
              <a:gd name="connsiteY3" fmla="*/ 1272845 h 1974850"/>
              <a:gd name="connsiteX4" fmla="*/ 3094329 w 12874752"/>
              <a:gd name="connsiteY4" fmla="*/ 1280160 h 1974850"/>
              <a:gd name="connsiteX5" fmla="*/ 3803904 w 12874752"/>
              <a:gd name="connsiteY5" fmla="*/ 1353312 h 1974850"/>
              <a:gd name="connsiteX6" fmla="*/ 4864608 w 12874752"/>
              <a:gd name="connsiteY6" fmla="*/ 1631290 h 1974850"/>
              <a:gd name="connsiteX7" fmla="*/ 5837529 w 12874752"/>
              <a:gd name="connsiteY7" fmla="*/ 1923898 h 1974850"/>
              <a:gd name="connsiteX8" fmla="*/ 6671462 w 12874752"/>
              <a:gd name="connsiteY8" fmla="*/ 1967789 h 1974850"/>
              <a:gd name="connsiteX9" fmla="*/ 8046720 w 12874752"/>
              <a:gd name="connsiteY9" fmla="*/ 1843430 h 1974850"/>
              <a:gd name="connsiteX10" fmla="*/ 8990381 w 12874752"/>
              <a:gd name="connsiteY10" fmla="*/ 1741018 h 1974850"/>
              <a:gd name="connsiteX11" fmla="*/ 9970617 w 12874752"/>
              <a:gd name="connsiteY11" fmla="*/ 1506931 h 1974850"/>
              <a:gd name="connsiteX12" fmla="*/ 11016691 w 12874752"/>
              <a:gd name="connsiteY12" fmla="*/ 1068019 h 1974850"/>
              <a:gd name="connsiteX13" fmla="*/ 12084710 w 12874752"/>
              <a:gd name="connsiteY13" fmla="*/ 409651 h 1974850"/>
              <a:gd name="connsiteX14" fmla="*/ 12874752 w 12874752"/>
              <a:gd name="connsiteY14" fmla="*/ 0 h 1974850"/>
              <a:gd name="connsiteX15" fmla="*/ 12874752 w 12874752"/>
              <a:gd name="connsiteY15" fmla="*/ 0 h 19748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2874752" h="1974850">
                <a:moveTo>
                  <a:pt x="0" y="1002182"/>
                </a:moveTo>
                <a:cubicBezTo>
                  <a:pt x="85953" y="1078382"/>
                  <a:pt x="171907" y="1154583"/>
                  <a:pt x="365760" y="1199693"/>
                </a:cubicBezTo>
                <a:cubicBezTo>
                  <a:pt x="559613" y="1244804"/>
                  <a:pt x="791261" y="1260653"/>
                  <a:pt x="1163117" y="1272845"/>
                </a:cubicBezTo>
                <a:cubicBezTo>
                  <a:pt x="1534973" y="1285037"/>
                  <a:pt x="2275027" y="1271626"/>
                  <a:pt x="2596896" y="1272845"/>
                </a:cubicBezTo>
                <a:cubicBezTo>
                  <a:pt x="2918765" y="1274064"/>
                  <a:pt x="2893161" y="1266749"/>
                  <a:pt x="3094329" y="1280160"/>
                </a:cubicBezTo>
                <a:cubicBezTo>
                  <a:pt x="3295497" y="1293571"/>
                  <a:pt x="3508858" y="1294790"/>
                  <a:pt x="3803904" y="1353312"/>
                </a:cubicBezTo>
                <a:cubicBezTo>
                  <a:pt x="4098950" y="1411834"/>
                  <a:pt x="4525671" y="1536192"/>
                  <a:pt x="4864608" y="1631290"/>
                </a:cubicBezTo>
                <a:cubicBezTo>
                  <a:pt x="5203545" y="1726388"/>
                  <a:pt x="5536387" y="1867815"/>
                  <a:pt x="5837529" y="1923898"/>
                </a:cubicBezTo>
                <a:cubicBezTo>
                  <a:pt x="6138671" y="1979981"/>
                  <a:pt x="6303264" y="1981200"/>
                  <a:pt x="6671462" y="1967789"/>
                </a:cubicBezTo>
                <a:cubicBezTo>
                  <a:pt x="7039660" y="1954378"/>
                  <a:pt x="7660234" y="1881225"/>
                  <a:pt x="8046720" y="1843430"/>
                </a:cubicBezTo>
                <a:cubicBezTo>
                  <a:pt x="8433206" y="1805635"/>
                  <a:pt x="8669732" y="1797101"/>
                  <a:pt x="8990381" y="1741018"/>
                </a:cubicBezTo>
                <a:cubicBezTo>
                  <a:pt x="9311030" y="1684935"/>
                  <a:pt x="9632899" y="1619097"/>
                  <a:pt x="9970617" y="1506931"/>
                </a:cubicBezTo>
                <a:cubicBezTo>
                  <a:pt x="10308335" y="1394765"/>
                  <a:pt x="10664342" y="1250899"/>
                  <a:pt x="11016691" y="1068019"/>
                </a:cubicBezTo>
                <a:cubicBezTo>
                  <a:pt x="11369040" y="885139"/>
                  <a:pt x="11775033" y="587654"/>
                  <a:pt x="12084710" y="409651"/>
                </a:cubicBezTo>
                <a:cubicBezTo>
                  <a:pt x="12394387" y="231648"/>
                  <a:pt x="12874752" y="0"/>
                  <a:pt x="12874752" y="0"/>
                </a:cubicBezTo>
                <a:lnTo>
                  <a:pt x="12874752" y="0"/>
                </a:lnTo>
              </a:path>
            </a:pathLst>
          </a:custGeom>
          <a:noFill/>
          <a:ln w="101600" cmpd="dbl">
            <a:solidFill>
              <a:srgbClr val="E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6" name="Oval 16">
            <a:extLst>
              <a:ext uri="{FF2B5EF4-FFF2-40B4-BE49-F238E27FC236}">
                <a16:creationId xmlns:a16="http://schemas.microsoft.com/office/drawing/2014/main" id="{C21A29E8-A818-2ECA-D3D2-027B9A538CBD}"/>
              </a:ext>
            </a:extLst>
          </p:cNvPr>
          <p:cNvSpPr/>
          <p:nvPr userDrawn="1"/>
        </p:nvSpPr>
        <p:spPr>
          <a:xfrm>
            <a:off x="4474657" y="3776478"/>
            <a:ext cx="629786" cy="629786"/>
          </a:xfrm>
          <a:prstGeom prst="ellipse">
            <a:avLst/>
          </a:prstGeom>
          <a:solidFill>
            <a:srgbClr val="238A8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3300" b="1">
                <a:solidFill>
                  <a:schemeClr val="bg1"/>
                </a:solidFill>
                <a:latin typeface="Approach Koeln"/>
              </a:rPr>
              <a:t>2</a:t>
            </a:r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51BBEC89-0514-0B43-262F-BB27D1A64410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309461" y="3557156"/>
            <a:ext cx="2557196" cy="2339562"/>
          </a:xfrm>
          <a:prstGeom prst="rect">
            <a:avLst/>
          </a:prstGeom>
        </p:spPr>
      </p:pic>
      <p:sp>
        <p:nvSpPr>
          <p:cNvPr id="21" name="Textfeld 20">
            <a:extLst>
              <a:ext uri="{FF2B5EF4-FFF2-40B4-BE49-F238E27FC236}">
                <a16:creationId xmlns:a16="http://schemas.microsoft.com/office/drawing/2014/main" id="{C639D0DD-4906-EA42-295E-524D61218881}"/>
              </a:ext>
            </a:extLst>
          </p:cNvPr>
          <p:cNvSpPr txBox="1"/>
          <p:nvPr userDrawn="1"/>
        </p:nvSpPr>
        <p:spPr>
          <a:xfrm>
            <a:off x="825503" y="6339798"/>
            <a:ext cx="8191781" cy="307777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algn="l"/>
            <a:endParaRPr lang="de-DE" sz="1000" b="0" i="0">
              <a:solidFill>
                <a:srgbClr val="FF0000"/>
              </a:solidFill>
              <a:latin typeface="Approach Koeln SemiBold" pitchFamily="2" charset="0"/>
            </a:endParaRPr>
          </a:p>
          <a:p>
            <a:pPr algn="l"/>
            <a:r>
              <a:rPr lang="de-DE" sz="1000" b="0" i="0">
                <a:solidFill>
                  <a:srgbClr val="FF0000"/>
                </a:solidFill>
                <a:latin typeface="Approach Koeln SemiBold" pitchFamily="2" charset="0"/>
              </a:rPr>
              <a:t>Kölner Verkehrs-Betriebe AG</a:t>
            </a:r>
            <a:endParaRPr lang="de-DE" sz="1000" b="0" i="0">
              <a:solidFill>
                <a:srgbClr val="FF0000"/>
              </a:solidFill>
              <a:latin typeface="Approach Koeln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0993694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Abschluss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Gruppieren 15">
            <a:extLst>
              <a:ext uri="{FF2B5EF4-FFF2-40B4-BE49-F238E27FC236}">
                <a16:creationId xmlns:a16="http://schemas.microsoft.com/office/drawing/2014/main" id="{CD1F6036-8ECD-95A0-C41E-13080652DB3B}"/>
              </a:ext>
            </a:extLst>
          </p:cNvPr>
          <p:cNvGrpSpPr/>
          <p:nvPr userDrawn="1"/>
        </p:nvGrpSpPr>
        <p:grpSpPr>
          <a:xfrm>
            <a:off x="-6019906" y="-6303101"/>
            <a:ext cx="18211906" cy="13746195"/>
            <a:chOff x="-6019906" y="-6303101"/>
            <a:chExt cx="18211906" cy="13746195"/>
          </a:xfrm>
        </p:grpSpPr>
        <p:pic>
          <p:nvPicPr>
            <p:cNvPr id="17" name="Grafik 16">
              <a:extLst>
                <a:ext uri="{FF2B5EF4-FFF2-40B4-BE49-F238E27FC236}">
                  <a16:creationId xmlns:a16="http://schemas.microsoft.com/office/drawing/2014/main" id="{F46DA4BE-8E49-C85B-FC01-9F702D2DEB5D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alphaModFix amt="6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4373" t="13251" r="33299" b="44717"/>
            <a:stretch/>
          </p:blipFill>
          <p:spPr>
            <a:xfrm>
              <a:off x="0" y="0"/>
              <a:ext cx="12192000" cy="6858000"/>
            </a:xfrm>
            <a:prstGeom prst="rect">
              <a:avLst/>
            </a:prstGeom>
          </p:spPr>
        </p:pic>
        <p:sp>
          <p:nvSpPr>
            <p:cNvPr id="18" name="Rechteck 17">
              <a:extLst>
                <a:ext uri="{FF2B5EF4-FFF2-40B4-BE49-F238E27FC236}">
                  <a16:creationId xmlns:a16="http://schemas.microsoft.com/office/drawing/2014/main" id="{1DD17AB0-A82D-93CF-574F-C7E4F07B370A}"/>
                </a:ext>
              </a:extLst>
            </p:cNvPr>
            <p:cNvSpPr/>
            <p:nvPr userDrawn="1"/>
          </p:nvSpPr>
          <p:spPr>
            <a:xfrm rot="2088470">
              <a:off x="-6019906" y="-6303101"/>
              <a:ext cx="9739721" cy="13746195"/>
            </a:xfrm>
            <a:prstGeom prst="rect">
              <a:avLst/>
            </a:prstGeom>
            <a:solidFill>
              <a:srgbClr val="A8D6EE">
                <a:alpha val="37367"/>
              </a:srgbClr>
            </a:solidFill>
            <a:ln>
              <a:noFill/>
            </a:ln>
            <a:effectLst>
              <a:glow rad="1734569">
                <a:srgbClr val="A8D6EE">
                  <a:alpha val="10000"/>
                </a:srgbClr>
              </a:glow>
              <a:softEdge rad="1270000"/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grpSp>
        <p:nvGrpSpPr>
          <p:cNvPr id="14" name="Gruppieren 13">
            <a:extLst>
              <a:ext uri="{FF2B5EF4-FFF2-40B4-BE49-F238E27FC236}">
                <a16:creationId xmlns:a16="http://schemas.microsoft.com/office/drawing/2014/main" id="{FD728FF7-E74E-BA00-2711-4363F2449D74}"/>
              </a:ext>
            </a:extLst>
          </p:cNvPr>
          <p:cNvGrpSpPr/>
          <p:nvPr userDrawn="1"/>
        </p:nvGrpSpPr>
        <p:grpSpPr>
          <a:xfrm>
            <a:off x="4037550" y="1653789"/>
            <a:ext cx="5709401" cy="2358099"/>
            <a:chOff x="5967125" y="3084868"/>
            <a:chExt cx="7115946" cy="2825055"/>
          </a:xfrm>
        </p:grpSpPr>
        <p:grpSp>
          <p:nvGrpSpPr>
            <p:cNvPr id="2" name="Gruppieren 1">
              <a:extLst>
                <a:ext uri="{FF2B5EF4-FFF2-40B4-BE49-F238E27FC236}">
                  <a16:creationId xmlns:a16="http://schemas.microsoft.com/office/drawing/2014/main" id="{1E9C432C-813E-DD77-022C-48251E044DCC}"/>
                </a:ext>
              </a:extLst>
            </p:cNvPr>
            <p:cNvGrpSpPr/>
            <p:nvPr userDrawn="1"/>
          </p:nvGrpSpPr>
          <p:grpSpPr>
            <a:xfrm>
              <a:off x="6896254" y="3084868"/>
              <a:ext cx="6186817" cy="2825055"/>
              <a:chOff x="7617415" y="1761766"/>
              <a:chExt cx="5409671" cy="2470192"/>
            </a:xfrm>
          </p:grpSpPr>
          <p:sp>
            <p:nvSpPr>
              <p:cNvPr id="9" name="Rechteck 8">
                <a:extLst>
                  <a:ext uri="{FF2B5EF4-FFF2-40B4-BE49-F238E27FC236}">
                    <a16:creationId xmlns:a16="http://schemas.microsoft.com/office/drawing/2014/main" id="{11ADF588-093A-67CC-50CA-C06AF9122573}"/>
                  </a:ext>
                </a:extLst>
              </p:cNvPr>
              <p:cNvSpPr/>
              <p:nvPr userDrawn="1"/>
            </p:nvSpPr>
            <p:spPr>
              <a:xfrm>
                <a:off x="7617415" y="1761766"/>
                <a:ext cx="5409671" cy="1566628"/>
              </a:xfrm>
              <a:prstGeom prst="rect">
                <a:avLst/>
              </a:prstGeom>
              <a:solidFill>
                <a:srgbClr val="238A8D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10" name="Rechtwinkliges Dreieck 9">
                <a:extLst>
                  <a:ext uri="{FF2B5EF4-FFF2-40B4-BE49-F238E27FC236}">
                    <a16:creationId xmlns:a16="http://schemas.microsoft.com/office/drawing/2014/main" id="{3FC5449C-0EC3-783B-A0A4-6380CB72FCB3}"/>
                  </a:ext>
                </a:extLst>
              </p:cNvPr>
              <p:cNvSpPr/>
              <p:nvPr userDrawn="1"/>
            </p:nvSpPr>
            <p:spPr>
              <a:xfrm rot="20137102" flipH="1" flipV="1">
                <a:off x="10794682" y="2515197"/>
                <a:ext cx="1132152" cy="1716761"/>
              </a:xfrm>
              <a:prstGeom prst="rtTriangle">
                <a:avLst/>
              </a:prstGeom>
              <a:solidFill>
                <a:srgbClr val="238A8D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</p:grpSp>
        <p:sp>
          <p:nvSpPr>
            <p:cNvPr id="8" name="Textfeld 7">
              <a:extLst>
                <a:ext uri="{FF2B5EF4-FFF2-40B4-BE49-F238E27FC236}">
                  <a16:creationId xmlns:a16="http://schemas.microsoft.com/office/drawing/2014/main" id="{288FB1BE-FDBE-0B2F-D622-0702766A7611}"/>
                </a:ext>
              </a:extLst>
            </p:cNvPr>
            <p:cNvSpPr txBox="1"/>
            <p:nvPr userDrawn="1"/>
          </p:nvSpPr>
          <p:spPr>
            <a:xfrm>
              <a:off x="5967125" y="4462615"/>
              <a:ext cx="4533335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endParaRPr lang="de-DE" sz="1800" b="0" i="0">
                <a:solidFill>
                  <a:schemeClr val="bg1"/>
                </a:solidFill>
                <a:latin typeface="Approach Koeln" pitchFamily="2" charset="0"/>
              </a:endParaRPr>
            </a:p>
          </p:txBody>
        </p:sp>
        <p:sp>
          <p:nvSpPr>
            <p:cNvPr id="13" name="Textfeld 12">
              <a:extLst>
                <a:ext uri="{FF2B5EF4-FFF2-40B4-BE49-F238E27FC236}">
                  <a16:creationId xmlns:a16="http://schemas.microsoft.com/office/drawing/2014/main" id="{4520C820-7D06-60FE-FF5B-EBB64E658B52}"/>
                </a:ext>
              </a:extLst>
            </p:cNvPr>
            <p:cNvSpPr txBox="1"/>
            <p:nvPr userDrawn="1"/>
          </p:nvSpPr>
          <p:spPr>
            <a:xfrm>
              <a:off x="7121289" y="3573837"/>
              <a:ext cx="5961782" cy="7190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3300" b="1" i="0" dirty="0" smtClean="0">
                  <a:solidFill>
                    <a:schemeClr val="bg1"/>
                  </a:solidFill>
                  <a:latin typeface="Approach Koeln" pitchFamily="2" charset="0"/>
                </a:rPr>
                <a:t>Projektkommunikation</a:t>
              </a:r>
              <a:endParaRPr lang="de-DE" sz="3300" b="1" i="0" dirty="0">
                <a:solidFill>
                  <a:schemeClr val="bg1"/>
                </a:solidFill>
                <a:latin typeface="Approach Koeln" pitchFamily="2" charset="0"/>
              </a:endParaRPr>
            </a:p>
          </p:txBody>
        </p:sp>
      </p:grpSp>
      <p:grpSp>
        <p:nvGrpSpPr>
          <p:cNvPr id="3" name="Gruppieren 2">
            <a:extLst>
              <a:ext uri="{FF2B5EF4-FFF2-40B4-BE49-F238E27FC236}">
                <a16:creationId xmlns:a16="http://schemas.microsoft.com/office/drawing/2014/main" id="{6BD84FD7-DC2D-40EF-6255-A0BCFD15225D}"/>
              </a:ext>
            </a:extLst>
          </p:cNvPr>
          <p:cNvGrpSpPr/>
          <p:nvPr userDrawn="1"/>
        </p:nvGrpSpPr>
        <p:grpSpPr>
          <a:xfrm>
            <a:off x="282578" y="210425"/>
            <a:ext cx="2850036" cy="382306"/>
            <a:chOff x="282578" y="210425"/>
            <a:chExt cx="2850036" cy="382306"/>
          </a:xfrm>
        </p:grpSpPr>
        <p:pic>
          <p:nvPicPr>
            <p:cNvPr id="4" name="Grafik 3">
              <a:extLst>
                <a:ext uri="{FF2B5EF4-FFF2-40B4-BE49-F238E27FC236}">
                  <a16:creationId xmlns:a16="http://schemas.microsoft.com/office/drawing/2014/main" id="{712D4509-B12D-BF5B-E433-FA92136730F0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282578" y="210425"/>
              <a:ext cx="1682284" cy="359572"/>
            </a:xfrm>
            <a:prstGeom prst="rect">
              <a:avLst/>
            </a:prstGeom>
          </p:spPr>
        </p:pic>
        <p:pic>
          <p:nvPicPr>
            <p:cNvPr id="7" name="Grafik 6">
              <a:extLst>
                <a:ext uri="{FF2B5EF4-FFF2-40B4-BE49-F238E27FC236}">
                  <a16:creationId xmlns:a16="http://schemas.microsoft.com/office/drawing/2014/main" id="{E8EFB8D7-82B2-81FC-62BB-AFAF6E77B62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334943" y="257118"/>
              <a:ext cx="797671" cy="335613"/>
            </a:xfrm>
            <a:prstGeom prst="rect">
              <a:avLst/>
            </a:prstGeom>
          </p:spPr>
        </p:pic>
      </p:grpSp>
      <p:sp>
        <p:nvSpPr>
          <p:cNvPr id="19" name="Freihandform 18">
            <a:extLst>
              <a:ext uri="{FF2B5EF4-FFF2-40B4-BE49-F238E27FC236}">
                <a16:creationId xmlns:a16="http://schemas.microsoft.com/office/drawing/2014/main" id="{22A8F7F7-A590-0068-31CE-A204A6066FDF}"/>
              </a:ext>
            </a:extLst>
          </p:cNvPr>
          <p:cNvSpPr/>
          <p:nvPr userDrawn="1"/>
        </p:nvSpPr>
        <p:spPr>
          <a:xfrm>
            <a:off x="-409651" y="2962656"/>
            <a:ext cx="12874752" cy="1974850"/>
          </a:xfrm>
          <a:custGeom>
            <a:avLst/>
            <a:gdLst>
              <a:gd name="connsiteX0" fmla="*/ 0 w 12874752"/>
              <a:gd name="connsiteY0" fmla="*/ 1002182 h 1974850"/>
              <a:gd name="connsiteX1" fmla="*/ 365760 w 12874752"/>
              <a:gd name="connsiteY1" fmla="*/ 1199693 h 1974850"/>
              <a:gd name="connsiteX2" fmla="*/ 1163117 w 12874752"/>
              <a:gd name="connsiteY2" fmla="*/ 1272845 h 1974850"/>
              <a:gd name="connsiteX3" fmla="*/ 2596896 w 12874752"/>
              <a:gd name="connsiteY3" fmla="*/ 1272845 h 1974850"/>
              <a:gd name="connsiteX4" fmla="*/ 3094329 w 12874752"/>
              <a:gd name="connsiteY4" fmla="*/ 1280160 h 1974850"/>
              <a:gd name="connsiteX5" fmla="*/ 3803904 w 12874752"/>
              <a:gd name="connsiteY5" fmla="*/ 1353312 h 1974850"/>
              <a:gd name="connsiteX6" fmla="*/ 4864608 w 12874752"/>
              <a:gd name="connsiteY6" fmla="*/ 1631290 h 1974850"/>
              <a:gd name="connsiteX7" fmla="*/ 5837529 w 12874752"/>
              <a:gd name="connsiteY7" fmla="*/ 1923898 h 1974850"/>
              <a:gd name="connsiteX8" fmla="*/ 6671462 w 12874752"/>
              <a:gd name="connsiteY8" fmla="*/ 1967789 h 1974850"/>
              <a:gd name="connsiteX9" fmla="*/ 8046720 w 12874752"/>
              <a:gd name="connsiteY9" fmla="*/ 1843430 h 1974850"/>
              <a:gd name="connsiteX10" fmla="*/ 8990381 w 12874752"/>
              <a:gd name="connsiteY10" fmla="*/ 1741018 h 1974850"/>
              <a:gd name="connsiteX11" fmla="*/ 9970617 w 12874752"/>
              <a:gd name="connsiteY11" fmla="*/ 1506931 h 1974850"/>
              <a:gd name="connsiteX12" fmla="*/ 11016691 w 12874752"/>
              <a:gd name="connsiteY12" fmla="*/ 1068019 h 1974850"/>
              <a:gd name="connsiteX13" fmla="*/ 12084710 w 12874752"/>
              <a:gd name="connsiteY13" fmla="*/ 409651 h 1974850"/>
              <a:gd name="connsiteX14" fmla="*/ 12874752 w 12874752"/>
              <a:gd name="connsiteY14" fmla="*/ 0 h 1974850"/>
              <a:gd name="connsiteX15" fmla="*/ 12874752 w 12874752"/>
              <a:gd name="connsiteY15" fmla="*/ 0 h 19748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2874752" h="1974850">
                <a:moveTo>
                  <a:pt x="0" y="1002182"/>
                </a:moveTo>
                <a:cubicBezTo>
                  <a:pt x="85953" y="1078382"/>
                  <a:pt x="171907" y="1154583"/>
                  <a:pt x="365760" y="1199693"/>
                </a:cubicBezTo>
                <a:cubicBezTo>
                  <a:pt x="559613" y="1244804"/>
                  <a:pt x="791261" y="1260653"/>
                  <a:pt x="1163117" y="1272845"/>
                </a:cubicBezTo>
                <a:cubicBezTo>
                  <a:pt x="1534973" y="1285037"/>
                  <a:pt x="2275027" y="1271626"/>
                  <a:pt x="2596896" y="1272845"/>
                </a:cubicBezTo>
                <a:cubicBezTo>
                  <a:pt x="2918765" y="1274064"/>
                  <a:pt x="2893161" y="1266749"/>
                  <a:pt x="3094329" y="1280160"/>
                </a:cubicBezTo>
                <a:cubicBezTo>
                  <a:pt x="3295497" y="1293571"/>
                  <a:pt x="3508858" y="1294790"/>
                  <a:pt x="3803904" y="1353312"/>
                </a:cubicBezTo>
                <a:cubicBezTo>
                  <a:pt x="4098950" y="1411834"/>
                  <a:pt x="4525671" y="1536192"/>
                  <a:pt x="4864608" y="1631290"/>
                </a:cubicBezTo>
                <a:cubicBezTo>
                  <a:pt x="5203545" y="1726388"/>
                  <a:pt x="5536387" y="1867815"/>
                  <a:pt x="5837529" y="1923898"/>
                </a:cubicBezTo>
                <a:cubicBezTo>
                  <a:pt x="6138671" y="1979981"/>
                  <a:pt x="6303264" y="1981200"/>
                  <a:pt x="6671462" y="1967789"/>
                </a:cubicBezTo>
                <a:cubicBezTo>
                  <a:pt x="7039660" y="1954378"/>
                  <a:pt x="7660234" y="1881225"/>
                  <a:pt x="8046720" y="1843430"/>
                </a:cubicBezTo>
                <a:cubicBezTo>
                  <a:pt x="8433206" y="1805635"/>
                  <a:pt x="8669732" y="1797101"/>
                  <a:pt x="8990381" y="1741018"/>
                </a:cubicBezTo>
                <a:cubicBezTo>
                  <a:pt x="9311030" y="1684935"/>
                  <a:pt x="9632899" y="1619097"/>
                  <a:pt x="9970617" y="1506931"/>
                </a:cubicBezTo>
                <a:cubicBezTo>
                  <a:pt x="10308335" y="1394765"/>
                  <a:pt x="10664342" y="1250899"/>
                  <a:pt x="11016691" y="1068019"/>
                </a:cubicBezTo>
                <a:cubicBezTo>
                  <a:pt x="11369040" y="885139"/>
                  <a:pt x="11775033" y="587654"/>
                  <a:pt x="12084710" y="409651"/>
                </a:cubicBezTo>
                <a:cubicBezTo>
                  <a:pt x="12394387" y="231648"/>
                  <a:pt x="12874752" y="0"/>
                  <a:pt x="12874752" y="0"/>
                </a:cubicBezTo>
                <a:lnTo>
                  <a:pt x="12874752" y="0"/>
                </a:lnTo>
              </a:path>
            </a:pathLst>
          </a:custGeom>
          <a:noFill/>
          <a:ln w="101600" cmpd="dbl">
            <a:solidFill>
              <a:srgbClr val="E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6" name="Oval 16">
            <a:extLst>
              <a:ext uri="{FF2B5EF4-FFF2-40B4-BE49-F238E27FC236}">
                <a16:creationId xmlns:a16="http://schemas.microsoft.com/office/drawing/2014/main" id="{C21A29E8-A818-2ECA-D3D2-027B9A538CBD}"/>
              </a:ext>
            </a:extLst>
          </p:cNvPr>
          <p:cNvSpPr/>
          <p:nvPr userDrawn="1"/>
        </p:nvSpPr>
        <p:spPr>
          <a:xfrm>
            <a:off x="9167357" y="3533984"/>
            <a:ext cx="629786" cy="629786"/>
          </a:xfrm>
          <a:prstGeom prst="ellipse">
            <a:avLst/>
          </a:prstGeom>
          <a:solidFill>
            <a:srgbClr val="238A8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3300" b="1">
                <a:solidFill>
                  <a:schemeClr val="bg1"/>
                </a:solidFill>
                <a:latin typeface="Approach Koeln"/>
              </a:rPr>
              <a:t>3</a:t>
            </a:r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433A05EE-F623-643D-5696-C29585A41E37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7273563" y="3399160"/>
            <a:ext cx="2557674" cy="2340000"/>
          </a:xfrm>
          <a:prstGeom prst="rect">
            <a:avLst/>
          </a:prstGeom>
        </p:spPr>
      </p:pic>
      <p:sp>
        <p:nvSpPr>
          <p:cNvPr id="20" name="Textfeld 19">
            <a:extLst>
              <a:ext uri="{FF2B5EF4-FFF2-40B4-BE49-F238E27FC236}">
                <a16:creationId xmlns:a16="http://schemas.microsoft.com/office/drawing/2014/main" id="{07251191-4343-46AC-A31C-C76260E0A0D3}"/>
              </a:ext>
            </a:extLst>
          </p:cNvPr>
          <p:cNvSpPr txBox="1"/>
          <p:nvPr userDrawn="1"/>
        </p:nvSpPr>
        <p:spPr>
          <a:xfrm>
            <a:off x="825503" y="6339798"/>
            <a:ext cx="8191781" cy="307777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algn="l"/>
            <a:endParaRPr lang="de-DE" sz="1000" b="0" i="0">
              <a:solidFill>
                <a:srgbClr val="FF0000"/>
              </a:solidFill>
              <a:latin typeface="Approach Koeln SemiBold" pitchFamily="2" charset="0"/>
            </a:endParaRPr>
          </a:p>
          <a:p>
            <a:pPr algn="l"/>
            <a:r>
              <a:rPr lang="de-DE" sz="1000" b="0" i="0">
                <a:solidFill>
                  <a:srgbClr val="FF0000"/>
                </a:solidFill>
                <a:latin typeface="Approach Koeln SemiBold" pitchFamily="2" charset="0"/>
              </a:rPr>
              <a:t>Kölner Verkehrs-Betriebe AG</a:t>
            </a:r>
            <a:endParaRPr lang="de-DE" sz="1000" b="0" i="0">
              <a:solidFill>
                <a:srgbClr val="FF0000"/>
              </a:solidFill>
              <a:latin typeface="Approach Koeln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1486574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uppieren 21">
            <a:extLst>
              <a:ext uri="{FF2B5EF4-FFF2-40B4-BE49-F238E27FC236}">
                <a16:creationId xmlns:a16="http://schemas.microsoft.com/office/drawing/2014/main" id="{67274797-D044-E689-8FD0-7DF604A91433}"/>
              </a:ext>
            </a:extLst>
          </p:cNvPr>
          <p:cNvGrpSpPr/>
          <p:nvPr userDrawn="1"/>
        </p:nvGrpSpPr>
        <p:grpSpPr>
          <a:xfrm>
            <a:off x="-6019906" y="-6303101"/>
            <a:ext cx="18211906" cy="13746195"/>
            <a:chOff x="-6019906" y="-6303101"/>
            <a:chExt cx="18211906" cy="13746195"/>
          </a:xfrm>
        </p:grpSpPr>
        <p:pic>
          <p:nvPicPr>
            <p:cNvPr id="23" name="Grafik 22">
              <a:extLst>
                <a:ext uri="{FF2B5EF4-FFF2-40B4-BE49-F238E27FC236}">
                  <a16:creationId xmlns:a16="http://schemas.microsoft.com/office/drawing/2014/main" id="{A271B3F7-3B0D-3058-CFC1-725241576AC6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alphaModFix amt="6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4373" t="13251" r="33299" b="44717"/>
            <a:stretch/>
          </p:blipFill>
          <p:spPr>
            <a:xfrm>
              <a:off x="0" y="0"/>
              <a:ext cx="12192000" cy="6858000"/>
            </a:xfrm>
            <a:prstGeom prst="rect">
              <a:avLst/>
            </a:prstGeom>
          </p:spPr>
        </p:pic>
        <p:sp>
          <p:nvSpPr>
            <p:cNvPr id="25" name="Rechteck 24">
              <a:extLst>
                <a:ext uri="{FF2B5EF4-FFF2-40B4-BE49-F238E27FC236}">
                  <a16:creationId xmlns:a16="http://schemas.microsoft.com/office/drawing/2014/main" id="{E4CF9731-1D86-9FCD-D123-E518F1679A4A}"/>
                </a:ext>
              </a:extLst>
            </p:cNvPr>
            <p:cNvSpPr/>
            <p:nvPr userDrawn="1"/>
          </p:nvSpPr>
          <p:spPr>
            <a:xfrm rot="2088470">
              <a:off x="-6019906" y="-6303101"/>
              <a:ext cx="9739721" cy="13746195"/>
            </a:xfrm>
            <a:prstGeom prst="rect">
              <a:avLst/>
            </a:prstGeom>
            <a:solidFill>
              <a:srgbClr val="A8D6EE">
                <a:alpha val="37367"/>
              </a:srgbClr>
            </a:solidFill>
            <a:ln>
              <a:noFill/>
            </a:ln>
            <a:effectLst>
              <a:glow rad="1734569">
                <a:srgbClr val="A8D6EE">
                  <a:alpha val="10000"/>
                </a:srgbClr>
              </a:glow>
              <a:softEdge rad="1270000"/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pic>
        <p:nvPicPr>
          <p:cNvPr id="21" name="Grafik 20">
            <a:extLst>
              <a:ext uri="{FF2B5EF4-FFF2-40B4-BE49-F238E27FC236}">
                <a16:creationId xmlns:a16="http://schemas.microsoft.com/office/drawing/2014/main" id="{C2350EAC-B93C-014D-FFC3-AE0E211FDFB3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5060025" y="1"/>
            <a:ext cx="12275563" cy="6857999"/>
          </a:xfrm>
          <a:prstGeom prst="rect">
            <a:avLst/>
          </a:prstGeom>
        </p:spPr>
      </p:pic>
      <p:sp>
        <p:nvSpPr>
          <p:cNvPr id="2" name="Textfeld 1">
            <a:extLst>
              <a:ext uri="{FF2B5EF4-FFF2-40B4-BE49-F238E27FC236}">
                <a16:creationId xmlns:a16="http://schemas.microsoft.com/office/drawing/2014/main" id="{C80A7041-EBE8-3D0F-D13C-930DA3C9F131}"/>
              </a:ext>
            </a:extLst>
          </p:cNvPr>
          <p:cNvSpPr txBox="1"/>
          <p:nvPr userDrawn="1"/>
        </p:nvSpPr>
        <p:spPr>
          <a:xfrm>
            <a:off x="725142" y="1058946"/>
            <a:ext cx="5977989" cy="1252651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fontAlgn="auto">
              <a:lnSpc>
                <a:spcPct val="90000"/>
              </a:lnSpc>
              <a:spcAft>
                <a:spcPts val="0"/>
              </a:spcAft>
              <a:defRPr/>
            </a:pPr>
            <a:r>
              <a:rPr lang="de-DE" sz="2800" b="1">
                <a:solidFill>
                  <a:srgbClr val="238A8D"/>
                </a:solidFill>
                <a:latin typeface="Approach Koeln"/>
                <a:ea typeface="+mj-ea"/>
                <a:cs typeface="Arial" panose="020B0604020202020204" pitchFamily="34" charset="0"/>
              </a:rPr>
              <a:t>Die Planungsbereiche </a:t>
            </a:r>
          </a:p>
          <a:p>
            <a:pPr>
              <a:lnSpc>
                <a:spcPct val="90000"/>
              </a:lnSpc>
              <a:spcAft>
                <a:spcPts val="0"/>
              </a:spcAft>
              <a:defRPr/>
            </a:pPr>
            <a:r>
              <a:rPr lang="de-DE" sz="2800" b="1">
                <a:solidFill>
                  <a:srgbClr val="238A8D"/>
                </a:solidFill>
                <a:latin typeface="Approach Koeln"/>
                <a:ea typeface="+mj-ea"/>
                <a:cs typeface="Arial" panose="020B0604020202020204" pitchFamily="34" charset="0"/>
              </a:rPr>
              <a:t>der Ost-West-Achse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de-DE" sz="2500">
              <a:solidFill>
                <a:srgbClr val="238A8D"/>
              </a:solidFill>
              <a:latin typeface="Approach Koeln"/>
              <a:cs typeface="Arial"/>
            </a:endParaRPr>
          </a:p>
        </p:txBody>
      </p:sp>
      <p:grpSp>
        <p:nvGrpSpPr>
          <p:cNvPr id="3" name="Gruppieren 2">
            <a:extLst>
              <a:ext uri="{FF2B5EF4-FFF2-40B4-BE49-F238E27FC236}">
                <a16:creationId xmlns:a16="http://schemas.microsoft.com/office/drawing/2014/main" id="{BB4A6C73-8E94-96D6-024E-5380DB9CFE28}"/>
              </a:ext>
            </a:extLst>
          </p:cNvPr>
          <p:cNvGrpSpPr/>
          <p:nvPr userDrawn="1"/>
        </p:nvGrpSpPr>
        <p:grpSpPr>
          <a:xfrm>
            <a:off x="282578" y="210425"/>
            <a:ext cx="2850036" cy="382306"/>
            <a:chOff x="282578" y="210425"/>
            <a:chExt cx="2850036" cy="382306"/>
          </a:xfrm>
        </p:grpSpPr>
        <p:pic>
          <p:nvPicPr>
            <p:cNvPr id="4" name="Grafik 3">
              <a:extLst>
                <a:ext uri="{FF2B5EF4-FFF2-40B4-BE49-F238E27FC236}">
                  <a16:creationId xmlns:a16="http://schemas.microsoft.com/office/drawing/2014/main" id="{1F626C7F-DBA3-2932-750D-FA5ACD02521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282578" y="210425"/>
              <a:ext cx="1682284" cy="359572"/>
            </a:xfrm>
            <a:prstGeom prst="rect">
              <a:avLst/>
            </a:prstGeom>
          </p:spPr>
        </p:pic>
        <p:pic>
          <p:nvPicPr>
            <p:cNvPr id="6" name="Grafik 5">
              <a:extLst>
                <a:ext uri="{FF2B5EF4-FFF2-40B4-BE49-F238E27FC236}">
                  <a16:creationId xmlns:a16="http://schemas.microsoft.com/office/drawing/2014/main" id="{1716E163-3143-8BEA-6644-2FCF5A8F3A7E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334943" y="257118"/>
              <a:ext cx="797671" cy="335613"/>
            </a:xfrm>
            <a:prstGeom prst="rect">
              <a:avLst/>
            </a:prstGeom>
          </p:spPr>
        </p:pic>
      </p:grpSp>
      <p:sp>
        <p:nvSpPr>
          <p:cNvPr id="26" name="Freihandform 25">
            <a:extLst>
              <a:ext uri="{FF2B5EF4-FFF2-40B4-BE49-F238E27FC236}">
                <a16:creationId xmlns:a16="http://schemas.microsoft.com/office/drawing/2014/main" id="{BF3B2415-309D-2E80-F01F-8DA0DDAB7676}"/>
              </a:ext>
            </a:extLst>
          </p:cNvPr>
          <p:cNvSpPr/>
          <p:nvPr userDrawn="1"/>
        </p:nvSpPr>
        <p:spPr>
          <a:xfrm>
            <a:off x="-409651" y="2962656"/>
            <a:ext cx="12874752" cy="1974850"/>
          </a:xfrm>
          <a:custGeom>
            <a:avLst/>
            <a:gdLst>
              <a:gd name="connsiteX0" fmla="*/ 0 w 12874752"/>
              <a:gd name="connsiteY0" fmla="*/ 1002182 h 1974850"/>
              <a:gd name="connsiteX1" fmla="*/ 365760 w 12874752"/>
              <a:gd name="connsiteY1" fmla="*/ 1199693 h 1974850"/>
              <a:gd name="connsiteX2" fmla="*/ 1163117 w 12874752"/>
              <a:gd name="connsiteY2" fmla="*/ 1272845 h 1974850"/>
              <a:gd name="connsiteX3" fmla="*/ 2596896 w 12874752"/>
              <a:gd name="connsiteY3" fmla="*/ 1272845 h 1974850"/>
              <a:gd name="connsiteX4" fmla="*/ 3094329 w 12874752"/>
              <a:gd name="connsiteY4" fmla="*/ 1280160 h 1974850"/>
              <a:gd name="connsiteX5" fmla="*/ 3803904 w 12874752"/>
              <a:gd name="connsiteY5" fmla="*/ 1353312 h 1974850"/>
              <a:gd name="connsiteX6" fmla="*/ 4864608 w 12874752"/>
              <a:gd name="connsiteY6" fmla="*/ 1631290 h 1974850"/>
              <a:gd name="connsiteX7" fmla="*/ 5837529 w 12874752"/>
              <a:gd name="connsiteY7" fmla="*/ 1923898 h 1974850"/>
              <a:gd name="connsiteX8" fmla="*/ 6671462 w 12874752"/>
              <a:gd name="connsiteY8" fmla="*/ 1967789 h 1974850"/>
              <a:gd name="connsiteX9" fmla="*/ 8046720 w 12874752"/>
              <a:gd name="connsiteY9" fmla="*/ 1843430 h 1974850"/>
              <a:gd name="connsiteX10" fmla="*/ 8990381 w 12874752"/>
              <a:gd name="connsiteY10" fmla="*/ 1741018 h 1974850"/>
              <a:gd name="connsiteX11" fmla="*/ 9970617 w 12874752"/>
              <a:gd name="connsiteY11" fmla="*/ 1506931 h 1974850"/>
              <a:gd name="connsiteX12" fmla="*/ 11016691 w 12874752"/>
              <a:gd name="connsiteY12" fmla="*/ 1068019 h 1974850"/>
              <a:gd name="connsiteX13" fmla="*/ 12084710 w 12874752"/>
              <a:gd name="connsiteY13" fmla="*/ 409651 h 1974850"/>
              <a:gd name="connsiteX14" fmla="*/ 12874752 w 12874752"/>
              <a:gd name="connsiteY14" fmla="*/ 0 h 1974850"/>
              <a:gd name="connsiteX15" fmla="*/ 12874752 w 12874752"/>
              <a:gd name="connsiteY15" fmla="*/ 0 h 19748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2874752" h="1974850">
                <a:moveTo>
                  <a:pt x="0" y="1002182"/>
                </a:moveTo>
                <a:cubicBezTo>
                  <a:pt x="85953" y="1078382"/>
                  <a:pt x="171907" y="1154583"/>
                  <a:pt x="365760" y="1199693"/>
                </a:cubicBezTo>
                <a:cubicBezTo>
                  <a:pt x="559613" y="1244804"/>
                  <a:pt x="791261" y="1260653"/>
                  <a:pt x="1163117" y="1272845"/>
                </a:cubicBezTo>
                <a:cubicBezTo>
                  <a:pt x="1534973" y="1285037"/>
                  <a:pt x="2275027" y="1271626"/>
                  <a:pt x="2596896" y="1272845"/>
                </a:cubicBezTo>
                <a:cubicBezTo>
                  <a:pt x="2918765" y="1274064"/>
                  <a:pt x="2893161" y="1266749"/>
                  <a:pt x="3094329" y="1280160"/>
                </a:cubicBezTo>
                <a:cubicBezTo>
                  <a:pt x="3295497" y="1293571"/>
                  <a:pt x="3508858" y="1294790"/>
                  <a:pt x="3803904" y="1353312"/>
                </a:cubicBezTo>
                <a:cubicBezTo>
                  <a:pt x="4098950" y="1411834"/>
                  <a:pt x="4525671" y="1536192"/>
                  <a:pt x="4864608" y="1631290"/>
                </a:cubicBezTo>
                <a:cubicBezTo>
                  <a:pt x="5203545" y="1726388"/>
                  <a:pt x="5536387" y="1867815"/>
                  <a:pt x="5837529" y="1923898"/>
                </a:cubicBezTo>
                <a:cubicBezTo>
                  <a:pt x="6138671" y="1979981"/>
                  <a:pt x="6303264" y="1981200"/>
                  <a:pt x="6671462" y="1967789"/>
                </a:cubicBezTo>
                <a:cubicBezTo>
                  <a:pt x="7039660" y="1954378"/>
                  <a:pt x="7660234" y="1881225"/>
                  <a:pt x="8046720" y="1843430"/>
                </a:cubicBezTo>
                <a:cubicBezTo>
                  <a:pt x="8433206" y="1805635"/>
                  <a:pt x="8669732" y="1797101"/>
                  <a:pt x="8990381" y="1741018"/>
                </a:cubicBezTo>
                <a:cubicBezTo>
                  <a:pt x="9311030" y="1684935"/>
                  <a:pt x="9632899" y="1619097"/>
                  <a:pt x="9970617" y="1506931"/>
                </a:cubicBezTo>
                <a:cubicBezTo>
                  <a:pt x="10308335" y="1394765"/>
                  <a:pt x="10664342" y="1250899"/>
                  <a:pt x="11016691" y="1068019"/>
                </a:cubicBezTo>
                <a:cubicBezTo>
                  <a:pt x="11369040" y="885139"/>
                  <a:pt x="11775033" y="587654"/>
                  <a:pt x="12084710" y="409651"/>
                </a:cubicBezTo>
                <a:cubicBezTo>
                  <a:pt x="12394387" y="231648"/>
                  <a:pt x="12874752" y="0"/>
                  <a:pt x="12874752" y="0"/>
                </a:cubicBezTo>
                <a:lnTo>
                  <a:pt x="12874752" y="0"/>
                </a:lnTo>
              </a:path>
            </a:pathLst>
          </a:custGeom>
          <a:noFill/>
          <a:ln w="101600" cmpd="dbl">
            <a:solidFill>
              <a:srgbClr val="E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20651C6D-F0EA-4040-8858-A9320945A552}"/>
              </a:ext>
            </a:extLst>
          </p:cNvPr>
          <p:cNvSpPr/>
          <p:nvPr userDrawn="1"/>
        </p:nvSpPr>
        <p:spPr>
          <a:xfrm>
            <a:off x="9772361" y="2851619"/>
            <a:ext cx="2559228" cy="2483868"/>
          </a:xfrm>
          <a:prstGeom prst="ellipse">
            <a:avLst/>
          </a:prstGeom>
          <a:solidFill>
            <a:srgbClr val="F89AB4">
              <a:alpha val="6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93BDD336-D408-6E3A-09D6-4D5EEEA219F2}"/>
              </a:ext>
            </a:extLst>
          </p:cNvPr>
          <p:cNvSpPr/>
          <p:nvPr userDrawn="1"/>
        </p:nvSpPr>
        <p:spPr>
          <a:xfrm>
            <a:off x="2703871" y="2925169"/>
            <a:ext cx="3127275" cy="3128400"/>
          </a:xfrm>
          <a:prstGeom prst="ellipse">
            <a:avLst/>
          </a:prstGeom>
          <a:solidFill>
            <a:srgbClr val="ED7D31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57926DA7-2816-7F86-9976-21EE43EBF9F4}"/>
              </a:ext>
            </a:extLst>
          </p:cNvPr>
          <p:cNvSpPr/>
          <p:nvPr userDrawn="1"/>
        </p:nvSpPr>
        <p:spPr>
          <a:xfrm>
            <a:off x="4232556" y="2886225"/>
            <a:ext cx="3110400" cy="3110400"/>
          </a:xfrm>
          <a:prstGeom prst="ellipse">
            <a:avLst/>
          </a:prstGeom>
          <a:solidFill>
            <a:srgbClr val="FFC000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83233722-BFA3-491D-CCCE-7210FA535A97}"/>
              </a:ext>
            </a:extLst>
          </p:cNvPr>
          <p:cNvSpPr/>
          <p:nvPr userDrawn="1"/>
        </p:nvSpPr>
        <p:spPr>
          <a:xfrm>
            <a:off x="25283" y="2855064"/>
            <a:ext cx="2833200" cy="2833144"/>
          </a:xfrm>
          <a:prstGeom prst="ellipse">
            <a:avLst/>
          </a:prstGeom>
          <a:solidFill>
            <a:srgbClr val="00B0F0">
              <a:alpha val="11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</a:endParaRPr>
          </a:p>
        </p:txBody>
      </p:sp>
      <p:sp>
        <p:nvSpPr>
          <p:cNvPr id="13" name="Grafik 11">
            <a:extLst>
              <a:ext uri="{FF2B5EF4-FFF2-40B4-BE49-F238E27FC236}">
                <a16:creationId xmlns:a16="http://schemas.microsoft.com/office/drawing/2014/main" id="{50B5006B-9B73-43B6-88EF-85CF4001645B}"/>
              </a:ext>
            </a:extLst>
          </p:cNvPr>
          <p:cNvSpPr/>
          <p:nvPr userDrawn="1"/>
        </p:nvSpPr>
        <p:spPr>
          <a:xfrm>
            <a:off x="417580" y="2715575"/>
            <a:ext cx="2016867" cy="414117"/>
          </a:xfrm>
          <a:custGeom>
            <a:avLst/>
            <a:gdLst>
              <a:gd name="connsiteX0" fmla="*/ 1928716 w 1928715"/>
              <a:gd name="connsiteY0" fmla="*/ 414117 h 414117"/>
              <a:gd name="connsiteX1" fmla="*/ 0 w 1928715"/>
              <a:gd name="connsiteY1" fmla="*/ 414117 h 414117"/>
              <a:gd name="connsiteX2" fmla="*/ 0 w 1928715"/>
              <a:gd name="connsiteY2" fmla="*/ 0 h 414117"/>
              <a:gd name="connsiteX3" fmla="*/ 1928716 w 1928715"/>
              <a:gd name="connsiteY3" fmla="*/ 0 h 414117"/>
              <a:gd name="connsiteX4" fmla="*/ 1809351 w 1928715"/>
              <a:gd name="connsiteY4" fmla="*/ 196633 h 4141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28715" h="414117">
                <a:moveTo>
                  <a:pt x="1928716" y="414117"/>
                </a:moveTo>
                <a:lnTo>
                  <a:pt x="0" y="414117"/>
                </a:lnTo>
                <a:lnTo>
                  <a:pt x="0" y="0"/>
                </a:lnTo>
                <a:lnTo>
                  <a:pt x="1928716" y="0"/>
                </a:lnTo>
                <a:lnTo>
                  <a:pt x="1809351" y="196633"/>
                </a:lnTo>
                <a:close/>
              </a:path>
            </a:pathLst>
          </a:custGeom>
          <a:solidFill>
            <a:srgbClr val="00B0F0">
              <a:alpha val="16000"/>
            </a:srgbClr>
          </a:solidFill>
          <a:ln w="474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proach Koeln"/>
                <a:ea typeface="+mn-ea"/>
                <a:cs typeface="Arial" panose="020B0604020202020204" pitchFamily="34" charset="0"/>
              </a:rPr>
              <a:t>Abschnitt West</a:t>
            </a:r>
          </a:p>
        </p:txBody>
      </p:sp>
      <p:sp>
        <p:nvSpPr>
          <p:cNvPr id="14" name="Grafik 11">
            <a:extLst>
              <a:ext uri="{FF2B5EF4-FFF2-40B4-BE49-F238E27FC236}">
                <a16:creationId xmlns:a16="http://schemas.microsoft.com/office/drawing/2014/main" id="{35E02AC0-ED30-F917-E3E8-7EA1FE7650D2}"/>
              </a:ext>
            </a:extLst>
          </p:cNvPr>
          <p:cNvSpPr/>
          <p:nvPr userDrawn="1"/>
        </p:nvSpPr>
        <p:spPr>
          <a:xfrm>
            <a:off x="5383887" y="2640554"/>
            <a:ext cx="1660038" cy="564161"/>
          </a:xfrm>
          <a:custGeom>
            <a:avLst/>
            <a:gdLst>
              <a:gd name="connsiteX0" fmla="*/ 1928716 w 1928715"/>
              <a:gd name="connsiteY0" fmla="*/ 414117 h 414117"/>
              <a:gd name="connsiteX1" fmla="*/ 0 w 1928715"/>
              <a:gd name="connsiteY1" fmla="*/ 414117 h 414117"/>
              <a:gd name="connsiteX2" fmla="*/ 0 w 1928715"/>
              <a:gd name="connsiteY2" fmla="*/ 0 h 414117"/>
              <a:gd name="connsiteX3" fmla="*/ 1928716 w 1928715"/>
              <a:gd name="connsiteY3" fmla="*/ 0 h 414117"/>
              <a:gd name="connsiteX4" fmla="*/ 1809351 w 1928715"/>
              <a:gd name="connsiteY4" fmla="*/ 196633 h 4141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28715" h="414117">
                <a:moveTo>
                  <a:pt x="1928716" y="414117"/>
                </a:moveTo>
                <a:lnTo>
                  <a:pt x="0" y="414117"/>
                </a:lnTo>
                <a:lnTo>
                  <a:pt x="0" y="0"/>
                </a:lnTo>
                <a:lnTo>
                  <a:pt x="1928716" y="0"/>
                </a:lnTo>
                <a:lnTo>
                  <a:pt x="1809351" y="196633"/>
                </a:lnTo>
                <a:close/>
              </a:path>
            </a:pathLst>
          </a:custGeom>
          <a:solidFill>
            <a:srgbClr val="FFC000">
              <a:alpha val="30000"/>
            </a:srgbClr>
          </a:solidFill>
          <a:ln w="474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ts val="176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proach Koeln"/>
                <a:ea typeface="+mn-ea"/>
                <a:cs typeface="Arial" panose="020B0604020202020204" pitchFamily="34" charset="0"/>
              </a:rPr>
              <a:t>Innenstadt – unterirdisch</a:t>
            </a:r>
          </a:p>
        </p:txBody>
      </p:sp>
      <p:sp>
        <p:nvSpPr>
          <p:cNvPr id="15" name="Grafik 11">
            <a:extLst>
              <a:ext uri="{FF2B5EF4-FFF2-40B4-BE49-F238E27FC236}">
                <a16:creationId xmlns:a16="http://schemas.microsoft.com/office/drawing/2014/main" id="{DCF4A107-2222-22BD-83BE-18A0BACAD38F}"/>
              </a:ext>
            </a:extLst>
          </p:cNvPr>
          <p:cNvSpPr/>
          <p:nvPr userDrawn="1"/>
        </p:nvSpPr>
        <p:spPr>
          <a:xfrm>
            <a:off x="3139346" y="2795677"/>
            <a:ext cx="1705693" cy="564161"/>
          </a:xfrm>
          <a:custGeom>
            <a:avLst/>
            <a:gdLst>
              <a:gd name="connsiteX0" fmla="*/ 1928716 w 1928715"/>
              <a:gd name="connsiteY0" fmla="*/ 414117 h 414117"/>
              <a:gd name="connsiteX1" fmla="*/ 0 w 1928715"/>
              <a:gd name="connsiteY1" fmla="*/ 414117 h 414117"/>
              <a:gd name="connsiteX2" fmla="*/ 0 w 1928715"/>
              <a:gd name="connsiteY2" fmla="*/ 0 h 414117"/>
              <a:gd name="connsiteX3" fmla="*/ 1928716 w 1928715"/>
              <a:gd name="connsiteY3" fmla="*/ 0 h 414117"/>
              <a:gd name="connsiteX4" fmla="*/ 1809351 w 1928715"/>
              <a:gd name="connsiteY4" fmla="*/ 196633 h 4141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28715" h="414117">
                <a:moveTo>
                  <a:pt x="1928716" y="414117"/>
                </a:moveTo>
                <a:lnTo>
                  <a:pt x="0" y="414117"/>
                </a:lnTo>
                <a:lnTo>
                  <a:pt x="0" y="0"/>
                </a:lnTo>
                <a:lnTo>
                  <a:pt x="1928716" y="0"/>
                </a:lnTo>
                <a:lnTo>
                  <a:pt x="1809351" y="196633"/>
                </a:lnTo>
                <a:close/>
              </a:path>
            </a:pathLst>
          </a:custGeom>
          <a:solidFill>
            <a:srgbClr val="ED7D31">
              <a:alpha val="20000"/>
            </a:srgbClr>
          </a:solidFill>
          <a:ln w="474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ts val="176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proach Koeln"/>
                <a:ea typeface="+mn-ea"/>
                <a:cs typeface="Arial" panose="020B0604020202020204" pitchFamily="34" charset="0"/>
              </a:rPr>
              <a:t>Innenstadt – oberirdisch</a:t>
            </a:r>
          </a:p>
        </p:txBody>
      </p:sp>
      <p:sp>
        <p:nvSpPr>
          <p:cNvPr id="16" name="Grafik 11">
            <a:extLst>
              <a:ext uri="{FF2B5EF4-FFF2-40B4-BE49-F238E27FC236}">
                <a16:creationId xmlns:a16="http://schemas.microsoft.com/office/drawing/2014/main" id="{48F4BE17-66EA-0450-5084-552C3BC6532D}"/>
              </a:ext>
            </a:extLst>
          </p:cNvPr>
          <p:cNvSpPr/>
          <p:nvPr userDrawn="1"/>
        </p:nvSpPr>
        <p:spPr>
          <a:xfrm>
            <a:off x="9909697" y="2589080"/>
            <a:ext cx="2033038" cy="414117"/>
          </a:xfrm>
          <a:custGeom>
            <a:avLst/>
            <a:gdLst>
              <a:gd name="connsiteX0" fmla="*/ 1928716 w 1928715"/>
              <a:gd name="connsiteY0" fmla="*/ 414117 h 414117"/>
              <a:gd name="connsiteX1" fmla="*/ 0 w 1928715"/>
              <a:gd name="connsiteY1" fmla="*/ 414117 h 414117"/>
              <a:gd name="connsiteX2" fmla="*/ 0 w 1928715"/>
              <a:gd name="connsiteY2" fmla="*/ 0 h 414117"/>
              <a:gd name="connsiteX3" fmla="*/ 1928716 w 1928715"/>
              <a:gd name="connsiteY3" fmla="*/ 0 h 414117"/>
              <a:gd name="connsiteX4" fmla="*/ 1809351 w 1928715"/>
              <a:gd name="connsiteY4" fmla="*/ 196633 h 4141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28715" h="414117">
                <a:moveTo>
                  <a:pt x="1928716" y="414117"/>
                </a:moveTo>
                <a:lnTo>
                  <a:pt x="0" y="414117"/>
                </a:lnTo>
                <a:lnTo>
                  <a:pt x="0" y="0"/>
                </a:lnTo>
                <a:lnTo>
                  <a:pt x="1928716" y="0"/>
                </a:lnTo>
                <a:lnTo>
                  <a:pt x="1809351" y="196633"/>
                </a:lnTo>
                <a:close/>
              </a:path>
            </a:pathLst>
          </a:custGeom>
          <a:solidFill>
            <a:srgbClr val="F89AB4"/>
          </a:solidFill>
          <a:ln w="474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proach Koeln"/>
                <a:ea typeface="+mn-ea"/>
                <a:cs typeface="Arial" panose="020B0604020202020204" pitchFamily="34" charset="0"/>
              </a:rPr>
              <a:t>Abschnitt Ost</a:t>
            </a: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E80D26F6-4E5D-85F2-F1EE-2857CBB442F0}"/>
              </a:ext>
            </a:extLst>
          </p:cNvPr>
          <p:cNvSpPr/>
          <p:nvPr userDrawn="1"/>
        </p:nvSpPr>
        <p:spPr>
          <a:xfrm>
            <a:off x="7359831" y="3204714"/>
            <a:ext cx="2395109" cy="2394000"/>
          </a:xfrm>
          <a:prstGeom prst="ellipse">
            <a:avLst/>
          </a:prstGeom>
          <a:solidFill>
            <a:srgbClr val="445274">
              <a:alpha val="6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9" name="Grafik 11">
            <a:extLst>
              <a:ext uri="{FF2B5EF4-FFF2-40B4-BE49-F238E27FC236}">
                <a16:creationId xmlns:a16="http://schemas.microsoft.com/office/drawing/2014/main" id="{953F0EC8-AE34-0D7D-C661-F2B4D12FD0BB}"/>
              </a:ext>
            </a:extLst>
          </p:cNvPr>
          <p:cNvSpPr/>
          <p:nvPr userDrawn="1"/>
        </p:nvSpPr>
        <p:spPr>
          <a:xfrm>
            <a:off x="7582773" y="2885258"/>
            <a:ext cx="1986657" cy="414117"/>
          </a:xfrm>
          <a:custGeom>
            <a:avLst/>
            <a:gdLst>
              <a:gd name="connsiteX0" fmla="*/ 1928716 w 1928715"/>
              <a:gd name="connsiteY0" fmla="*/ 414117 h 414117"/>
              <a:gd name="connsiteX1" fmla="*/ 0 w 1928715"/>
              <a:gd name="connsiteY1" fmla="*/ 414117 h 414117"/>
              <a:gd name="connsiteX2" fmla="*/ 0 w 1928715"/>
              <a:gd name="connsiteY2" fmla="*/ 0 h 414117"/>
              <a:gd name="connsiteX3" fmla="*/ 1928716 w 1928715"/>
              <a:gd name="connsiteY3" fmla="*/ 0 h 414117"/>
              <a:gd name="connsiteX4" fmla="*/ 1809351 w 1928715"/>
              <a:gd name="connsiteY4" fmla="*/ 196633 h 4141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28715" h="414117">
                <a:moveTo>
                  <a:pt x="1928716" y="414117"/>
                </a:moveTo>
                <a:lnTo>
                  <a:pt x="0" y="414117"/>
                </a:lnTo>
                <a:lnTo>
                  <a:pt x="0" y="0"/>
                </a:lnTo>
                <a:lnTo>
                  <a:pt x="1928716" y="0"/>
                </a:lnTo>
                <a:lnTo>
                  <a:pt x="1809351" y="196633"/>
                </a:lnTo>
                <a:close/>
              </a:path>
            </a:pathLst>
          </a:custGeom>
          <a:solidFill>
            <a:srgbClr val="445274"/>
          </a:solidFill>
          <a:ln w="4742" cap="flat">
            <a:noFill/>
            <a:prstDash val="solid"/>
            <a:miter/>
          </a:ln>
        </p:spPr>
        <p:txBody>
          <a:bodyPr rtlCol="0" anchor="ctr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de-DE" sz="1800" b="1">
                <a:solidFill>
                  <a:prstClr val="white"/>
                </a:solidFill>
                <a:latin typeface="Approach Koeln"/>
                <a:cs typeface="Arial" panose="020B0604020202020204" pitchFamily="34" charset="0"/>
              </a:rPr>
              <a:t>Bestandstunnel</a:t>
            </a:r>
          </a:p>
        </p:txBody>
      </p:sp>
      <p:sp>
        <p:nvSpPr>
          <p:cNvPr id="27" name="Textfeld 26">
            <a:extLst>
              <a:ext uri="{FF2B5EF4-FFF2-40B4-BE49-F238E27FC236}">
                <a16:creationId xmlns:a16="http://schemas.microsoft.com/office/drawing/2014/main" id="{81A34249-0A45-59D0-701B-43556C126746}"/>
              </a:ext>
            </a:extLst>
          </p:cNvPr>
          <p:cNvSpPr txBox="1"/>
          <p:nvPr userDrawn="1"/>
        </p:nvSpPr>
        <p:spPr>
          <a:xfrm>
            <a:off x="825503" y="6339798"/>
            <a:ext cx="8191781" cy="307777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algn="l"/>
            <a:endParaRPr lang="de-DE" sz="1000" b="0" i="0">
              <a:solidFill>
                <a:srgbClr val="FF0000"/>
              </a:solidFill>
              <a:latin typeface="Approach Koeln SemiBold" pitchFamily="2" charset="0"/>
            </a:endParaRPr>
          </a:p>
          <a:p>
            <a:pPr algn="l"/>
            <a:r>
              <a:rPr lang="de-DE" sz="1000" b="0" i="0">
                <a:solidFill>
                  <a:srgbClr val="FF0000"/>
                </a:solidFill>
                <a:latin typeface="Approach Koeln SemiBold" pitchFamily="2" charset="0"/>
              </a:rPr>
              <a:t>Kölner Verkehrs-Betriebe AG</a:t>
            </a:r>
            <a:endParaRPr lang="de-DE" sz="1000" b="0" i="0">
              <a:solidFill>
                <a:srgbClr val="FF0000"/>
              </a:solidFill>
              <a:latin typeface="Approach Koeln" pitchFamily="2" charset="0"/>
            </a:endParaRPr>
          </a:p>
        </p:txBody>
      </p:sp>
      <p:sp>
        <p:nvSpPr>
          <p:cNvPr id="17" name="Grafik 11">
            <a:extLst>
              <a:ext uri="{FF2B5EF4-FFF2-40B4-BE49-F238E27FC236}">
                <a16:creationId xmlns:a16="http://schemas.microsoft.com/office/drawing/2014/main" id="{F0FD5008-E72A-C51B-B4FE-EC81A08EF1CF}"/>
              </a:ext>
            </a:extLst>
          </p:cNvPr>
          <p:cNvSpPr/>
          <p:nvPr userDrawn="1"/>
        </p:nvSpPr>
        <p:spPr>
          <a:xfrm>
            <a:off x="10453691" y="5095677"/>
            <a:ext cx="1698204" cy="531240"/>
          </a:xfrm>
          <a:custGeom>
            <a:avLst/>
            <a:gdLst>
              <a:gd name="connsiteX0" fmla="*/ 1928716 w 1928715"/>
              <a:gd name="connsiteY0" fmla="*/ 414117 h 414117"/>
              <a:gd name="connsiteX1" fmla="*/ 0 w 1928715"/>
              <a:gd name="connsiteY1" fmla="*/ 414117 h 414117"/>
              <a:gd name="connsiteX2" fmla="*/ 0 w 1928715"/>
              <a:gd name="connsiteY2" fmla="*/ 0 h 414117"/>
              <a:gd name="connsiteX3" fmla="*/ 1928716 w 1928715"/>
              <a:gd name="connsiteY3" fmla="*/ 0 h 414117"/>
              <a:gd name="connsiteX4" fmla="*/ 1809351 w 1928715"/>
              <a:gd name="connsiteY4" fmla="*/ 196633 h 4141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28715" h="414117">
                <a:moveTo>
                  <a:pt x="1928716" y="414117"/>
                </a:moveTo>
                <a:lnTo>
                  <a:pt x="0" y="414117"/>
                </a:lnTo>
                <a:lnTo>
                  <a:pt x="0" y="0"/>
                </a:lnTo>
                <a:lnTo>
                  <a:pt x="1928716" y="0"/>
                </a:lnTo>
                <a:lnTo>
                  <a:pt x="1809351" y="196633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  <a:ln w="474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proach Koeln"/>
                <a:ea typeface="+mn-ea"/>
                <a:cs typeface="Arial" panose="020B0604020202020204" pitchFamily="34" charset="0"/>
              </a:rPr>
              <a:t>Rheinisch-Bergischer Kreis</a:t>
            </a:r>
          </a:p>
        </p:txBody>
      </p:sp>
    </p:spTree>
    <p:extLst>
      <p:ext uri="{BB962C8B-B14F-4D97-AF65-F5344CB8AC3E}">
        <p14:creationId xmlns:p14="http://schemas.microsoft.com/office/powerpoint/2010/main" val="298247733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" name="Gruppieren 10">
            <a:extLst>
              <a:ext uri="{FF2B5EF4-FFF2-40B4-BE49-F238E27FC236}">
                <a16:creationId xmlns:a16="http://schemas.microsoft.com/office/drawing/2014/main" id="{CBBA7C53-A171-3C8D-3D07-D8851EF5EFC3}"/>
              </a:ext>
            </a:extLst>
          </p:cNvPr>
          <p:cNvGrpSpPr/>
          <p:nvPr userDrawn="1"/>
        </p:nvGrpSpPr>
        <p:grpSpPr>
          <a:xfrm>
            <a:off x="-6019906" y="-6303101"/>
            <a:ext cx="18211906" cy="13746195"/>
            <a:chOff x="-6019906" y="-6303101"/>
            <a:chExt cx="18211906" cy="13746195"/>
          </a:xfrm>
        </p:grpSpPr>
        <p:pic>
          <p:nvPicPr>
            <p:cNvPr id="12" name="Grafik 11">
              <a:extLst>
                <a:ext uri="{FF2B5EF4-FFF2-40B4-BE49-F238E27FC236}">
                  <a16:creationId xmlns:a16="http://schemas.microsoft.com/office/drawing/2014/main" id="{4E20DED8-A617-FB92-26D0-92183FEF44D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alphaModFix amt="6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4373" t="13251" r="33299" b="44717"/>
            <a:stretch/>
          </p:blipFill>
          <p:spPr>
            <a:xfrm>
              <a:off x="0" y="0"/>
              <a:ext cx="12192000" cy="6858000"/>
            </a:xfrm>
            <a:prstGeom prst="rect">
              <a:avLst/>
            </a:prstGeom>
          </p:spPr>
        </p:pic>
        <p:sp>
          <p:nvSpPr>
            <p:cNvPr id="13" name="Rechteck 12">
              <a:extLst>
                <a:ext uri="{FF2B5EF4-FFF2-40B4-BE49-F238E27FC236}">
                  <a16:creationId xmlns:a16="http://schemas.microsoft.com/office/drawing/2014/main" id="{BBA92320-FD3D-C21C-9AF6-9267F57C2980}"/>
                </a:ext>
              </a:extLst>
            </p:cNvPr>
            <p:cNvSpPr/>
            <p:nvPr userDrawn="1"/>
          </p:nvSpPr>
          <p:spPr>
            <a:xfrm rot="2088470">
              <a:off x="-6019906" y="-6303101"/>
              <a:ext cx="9739721" cy="13746195"/>
            </a:xfrm>
            <a:prstGeom prst="rect">
              <a:avLst/>
            </a:prstGeom>
            <a:solidFill>
              <a:srgbClr val="A8D6EE">
                <a:alpha val="37367"/>
              </a:srgbClr>
            </a:solidFill>
            <a:ln>
              <a:noFill/>
            </a:ln>
            <a:effectLst>
              <a:glow rad="1734569">
                <a:srgbClr val="A8D6EE">
                  <a:alpha val="10000"/>
                </a:srgbClr>
              </a:glow>
              <a:softEdge rad="1270000"/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sp>
        <p:nvSpPr>
          <p:cNvPr id="14" name="Freihandform 13">
            <a:extLst>
              <a:ext uri="{FF2B5EF4-FFF2-40B4-BE49-F238E27FC236}">
                <a16:creationId xmlns:a16="http://schemas.microsoft.com/office/drawing/2014/main" id="{DDB75263-E892-D157-0492-BB401FD46F1B}"/>
              </a:ext>
            </a:extLst>
          </p:cNvPr>
          <p:cNvSpPr/>
          <p:nvPr userDrawn="1"/>
        </p:nvSpPr>
        <p:spPr>
          <a:xfrm>
            <a:off x="-409651" y="2962656"/>
            <a:ext cx="12874752" cy="1974850"/>
          </a:xfrm>
          <a:custGeom>
            <a:avLst/>
            <a:gdLst>
              <a:gd name="connsiteX0" fmla="*/ 0 w 12874752"/>
              <a:gd name="connsiteY0" fmla="*/ 1002182 h 1974850"/>
              <a:gd name="connsiteX1" fmla="*/ 365760 w 12874752"/>
              <a:gd name="connsiteY1" fmla="*/ 1199693 h 1974850"/>
              <a:gd name="connsiteX2" fmla="*/ 1163117 w 12874752"/>
              <a:gd name="connsiteY2" fmla="*/ 1272845 h 1974850"/>
              <a:gd name="connsiteX3" fmla="*/ 2596896 w 12874752"/>
              <a:gd name="connsiteY3" fmla="*/ 1272845 h 1974850"/>
              <a:gd name="connsiteX4" fmla="*/ 3094329 w 12874752"/>
              <a:gd name="connsiteY4" fmla="*/ 1280160 h 1974850"/>
              <a:gd name="connsiteX5" fmla="*/ 3803904 w 12874752"/>
              <a:gd name="connsiteY5" fmla="*/ 1353312 h 1974850"/>
              <a:gd name="connsiteX6" fmla="*/ 4864608 w 12874752"/>
              <a:gd name="connsiteY6" fmla="*/ 1631290 h 1974850"/>
              <a:gd name="connsiteX7" fmla="*/ 5837529 w 12874752"/>
              <a:gd name="connsiteY7" fmla="*/ 1923898 h 1974850"/>
              <a:gd name="connsiteX8" fmla="*/ 6671462 w 12874752"/>
              <a:gd name="connsiteY8" fmla="*/ 1967789 h 1974850"/>
              <a:gd name="connsiteX9" fmla="*/ 8046720 w 12874752"/>
              <a:gd name="connsiteY9" fmla="*/ 1843430 h 1974850"/>
              <a:gd name="connsiteX10" fmla="*/ 8990381 w 12874752"/>
              <a:gd name="connsiteY10" fmla="*/ 1741018 h 1974850"/>
              <a:gd name="connsiteX11" fmla="*/ 9970617 w 12874752"/>
              <a:gd name="connsiteY11" fmla="*/ 1506931 h 1974850"/>
              <a:gd name="connsiteX12" fmla="*/ 11016691 w 12874752"/>
              <a:gd name="connsiteY12" fmla="*/ 1068019 h 1974850"/>
              <a:gd name="connsiteX13" fmla="*/ 12084710 w 12874752"/>
              <a:gd name="connsiteY13" fmla="*/ 409651 h 1974850"/>
              <a:gd name="connsiteX14" fmla="*/ 12874752 w 12874752"/>
              <a:gd name="connsiteY14" fmla="*/ 0 h 1974850"/>
              <a:gd name="connsiteX15" fmla="*/ 12874752 w 12874752"/>
              <a:gd name="connsiteY15" fmla="*/ 0 h 19748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2874752" h="1974850">
                <a:moveTo>
                  <a:pt x="0" y="1002182"/>
                </a:moveTo>
                <a:cubicBezTo>
                  <a:pt x="85953" y="1078382"/>
                  <a:pt x="171907" y="1154583"/>
                  <a:pt x="365760" y="1199693"/>
                </a:cubicBezTo>
                <a:cubicBezTo>
                  <a:pt x="559613" y="1244804"/>
                  <a:pt x="791261" y="1260653"/>
                  <a:pt x="1163117" y="1272845"/>
                </a:cubicBezTo>
                <a:cubicBezTo>
                  <a:pt x="1534973" y="1285037"/>
                  <a:pt x="2275027" y="1271626"/>
                  <a:pt x="2596896" y="1272845"/>
                </a:cubicBezTo>
                <a:cubicBezTo>
                  <a:pt x="2918765" y="1274064"/>
                  <a:pt x="2893161" y="1266749"/>
                  <a:pt x="3094329" y="1280160"/>
                </a:cubicBezTo>
                <a:cubicBezTo>
                  <a:pt x="3295497" y="1293571"/>
                  <a:pt x="3508858" y="1294790"/>
                  <a:pt x="3803904" y="1353312"/>
                </a:cubicBezTo>
                <a:cubicBezTo>
                  <a:pt x="4098950" y="1411834"/>
                  <a:pt x="4525671" y="1536192"/>
                  <a:pt x="4864608" y="1631290"/>
                </a:cubicBezTo>
                <a:cubicBezTo>
                  <a:pt x="5203545" y="1726388"/>
                  <a:pt x="5536387" y="1867815"/>
                  <a:pt x="5837529" y="1923898"/>
                </a:cubicBezTo>
                <a:cubicBezTo>
                  <a:pt x="6138671" y="1979981"/>
                  <a:pt x="6303264" y="1981200"/>
                  <a:pt x="6671462" y="1967789"/>
                </a:cubicBezTo>
                <a:cubicBezTo>
                  <a:pt x="7039660" y="1954378"/>
                  <a:pt x="7660234" y="1881225"/>
                  <a:pt x="8046720" y="1843430"/>
                </a:cubicBezTo>
                <a:cubicBezTo>
                  <a:pt x="8433206" y="1805635"/>
                  <a:pt x="8669732" y="1797101"/>
                  <a:pt x="8990381" y="1741018"/>
                </a:cubicBezTo>
                <a:cubicBezTo>
                  <a:pt x="9311030" y="1684935"/>
                  <a:pt x="9632899" y="1619097"/>
                  <a:pt x="9970617" y="1506931"/>
                </a:cubicBezTo>
                <a:cubicBezTo>
                  <a:pt x="10308335" y="1394765"/>
                  <a:pt x="10664342" y="1250899"/>
                  <a:pt x="11016691" y="1068019"/>
                </a:cubicBezTo>
                <a:cubicBezTo>
                  <a:pt x="11369040" y="885139"/>
                  <a:pt x="11775033" y="587654"/>
                  <a:pt x="12084710" y="409651"/>
                </a:cubicBezTo>
                <a:cubicBezTo>
                  <a:pt x="12394387" y="231648"/>
                  <a:pt x="12874752" y="0"/>
                  <a:pt x="12874752" y="0"/>
                </a:cubicBezTo>
                <a:lnTo>
                  <a:pt x="12874752" y="0"/>
                </a:lnTo>
              </a:path>
            </a:pathLst>
          </a:custGeom>
          <a:noFill/>
          <a:ln w="101600" cmpd="dbl">
            <a:solidFill>
              <a:srgbClr val="E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C82EC9D9-A5E3-6A7C-A7F8-8B21CA32D299}"/>
              </a:ext>
            </a:extLst>
          </p:cNvPr>
          <p:cNvSpPr/>
          <p:nvPr userDrawn="1"/>
        </p:nvSpPr>
        <p:spPr>
          <a:xfrm>
            <a:off x="5707330" y="2860137"/>
            <a:ext cx="5148868" cy="2542910"/>
          </a:xfrm>
          <a:prstGeom prst="rect">
            <a:avLst/>
          </a:prstGeom>
          <a:solidFill>
            <a:srgbClr val="238A8D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5B72C702-1EFE-A2CC-A8AB-2207020ABD0B}"/>
              </a:ext>
            </a:extLst>
          </p:cNvPr>
          <p:cNvSpPr txBox="1"/>
          <p:nvPr userDrawn="1"/>
        </p:nvSpPr>
        <p:spPr>
          <a:xfrm>
            <a:off x="5967126" y="3083426"/>
            <a:ext cx="4025816" cy="161582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3300" b="1" i="0">
                <a:solidFill>
                  <a:schemeClr val="bg1"/>
                </a:solidFill>
                <a:latin typeface="Approach Koeln" pitchFamily="2" charset="0"/>
              </a:rPr>
              <a:t>Welche Verständnisfragen haben Sie?</a:t>
            </a: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288FB1BE-FDBE-0B2F-D622-0702766A7611}"/>
              </a:ext>
            </a:extLst>
          </p:cNvPr>
          <p:cNvSpPr txBox="1"/>
          <p:nvPr userDrawn="1"/>
        </p:nvSpPr>
        <p:spPr>
          <a:xfrm>
            <a:off x="5967126" y="4672887"/>
            <a:ext cx="402581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800">
                <a:solidFill>
                  <a:schemeClr val="bg1"/>
                </a:solidFill>
                <a:latin typeface="Approach Koeln"/>
                <a:cs typeface="Arial"/>
              </a:rPr>
              <a:t>Offene Runde</a:t>
            </a:r>
            <a:endParaRPr lang="de-DE" sz="1800">
              <a:solidFill>
                <a:schemeClr val="bg1"/>
              </a:solidFill>
            </a:endParaRPr>
          </a:p>
        </p:txBody>
      </p:sp>
      <p:sp>
        <p:nvSpPr>
          <p:cNvPr id="2" name="Oval 16">
            <a:extLst>
              <a:ext uri="{FF2B5EF4-FFF2-40B4-BE49-F238E27FC236}">
                <a16:creationId xmlns:a16="http://schemas.microsoft.com/office/drawing/2014/main" id="{63A2F2F5-B7C1-155E-FE5C-FCDC58157A05}"/>
              </a:ext>
            </a:extLst>
          </p:cNvPr>
          <p:cNvSpPr/>
          <p:nvPr userDrawn="1"/>
        </p:nvSpPr>
        <p:spPr>
          <a:xfrm>
            <a:off x="3593431" y="3903994"/>
            <a:ext cx="1191624" cy="1191624"/>
          </a:xfrm>
          <a:prstGeom prst="ellipse">
            <a:avLst/>
          </a:prstGeom>
          <a:solidFill>
            <a:srgbClr val="E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8000" b="1">
                <a:solidFill>
                  <a:schemeClr val="bg1"/>
                </a:solidFill>
                <a:latin typeface="Approach Koeln"/>
              </a:rPr>
              <a:t>?</a:t>
            </a:r>
          </a:p>
        </p:txBody>
      </p:sp>
      <p:sp>
        <p:nvSpPr>
          <p:cNvPr id="15" name="Textfeld 14">
            <a:extLst>
              <a:ext uri="{FF2B5EF4-FFF2-40B4-BE49-F238E27FC236}">
                <a16:creationId xmlns:a16="http://schemas.microsoft.com/office/drawing/2014/main" id="{C9377B1B-916F-64F6-DD1C-92599058B465}"/>
              </a:ext>
            </a:extLst>
          </p:cNvPr>
          <p:cNvSpPr txBox="1"/>
          <p:nvPr userDrawn="1"/>
        </p:nvSpPr>
        <p:spPr>
          <a:xfrm>
            <a:off x="825503" y="6339798"/>
            <a:ext cx="8191781" cy="307777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algn="l"/>
            <a:endParaRPr lang="de-DE" sz="1000" b="0" i="0">
              <a:solidFill>
                <a:srgbClr val="FF0000"/>
              </a:solidFill>
              <a:latin typeface="Approach Koeln SemiBold" pitchFamily="2" charset="0"/>
            </a:endParaRPr>
          </a:p>
          <a:p>
            <a:pPr algn="l"/>
            <a:r>
              <a:rPr lang="de-DE" sz="1000" b="0" i="0">
                <a:solidFill>
                  <a:srgbClr val="FF0000"/>
                </a:solidFill>
                <a:latin typeface="Approach Koeln SemiBold" pitchFamily="2" charset="0"/>
              </a:rPr>
              <a:t>Kölner Verkehrs-Betriebe AG</a:t>
            </a:r>
            <a:endParaRPr lang="de-DE" sz="1000" b="0" i="0">
              <a:solidFill>
                <a:srgbClr val="FF0000"/>
              </a:solidFill>
              <a:latin typeface="Approach Koeln" pitchFamily="2" charset="0"/>
            </a:endParaRPr>
          </a:p>
        </p:txBody>
      </p:sp>
      <p:grpSp>
        <p:nvGrpSpPr>
          <p:cNvPr id="18" name="Gruppieren 17">
            <a:extLst>
              <a:ext uri="{FF2B5EF4-FFF2-40B4-BE49-F238E27FC236}">
                <a16:creationId xmlns:a16="http://schemas.microsoft.com/office/drawing/2014/main" id="{A23ABBAF-B447-A8CF-B573-E91D0BD2B33D}"/>
              </a:ext>
            </a:extLst>
          </p:cNvPr>
          <p:cNvGrpSpPr/>
          <p:nvPr userDrawn="1"/>
        </p:nvGrpSpPr>
        <p:grpSpPr>
          <a:xfrm>
            <a:off x="282578" y="210425"/>
            <a:ext cx="2850036" cy="382306"/>
            <a:chOff x="282578" y="210425"/>
            <a:chExt cx="2850036" cy="382306"/>
          </a:xfrm>
        </p:grpSpPr>
        <p:pic>
          <p:nvPicPr>
            <p:cNvPr id="19" name="Grafik 18">
              <a:extLst>
                <a:ext uri="{FF2B5EF4-FFF2-40B4-BE49-F238E27FC236}">
                  <a16:creationId xmlns:a16="http://schemas.microsoft.com/office/drawing/2014/main" id="{0EBDD8D1-3770-4A49-A73A-6A84F2FC16C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282578" y="210425"/>
              <a:ext cx="1682284" cy="359572"/>
            </a:xfrm>
            <a:prstGeom prst="rect">
              <a:avLst/>
            </a:prstGeom>
          </p:spPr>
        </p:pic>
        <p:pic>
          <p:nvPicPr>
            <p:cNvPr id="20" name="Grafik 19">
              <a:extLst>
                <a:ext uri="{FF2B5EF4-FFF2-40B4-BE49-F238E27FC236}">
                  <a16:creationId xmlns:a16="http://schemas.microsoft.com/office/drawing/2014/main" id="{D3631343-1EF7-F2BD-F171-E758753861A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334943" y="257118"/>
              <a:ext cx="797671" cy="33561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12519413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bschluss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uppieren 5">
            <a:extLst>
              <a:ext uri="{FF2B5EF4-FFF2-40B4-BE49-F238E27FC236}">
                <a16:creationId xmlns:a16="http://schemas.microsoft.com/office/drawing/2014/main" id="{3B49DBE5-2D36-6337-465F-9C5ACA6ADF2B}"/>
              </a:ext>
            </a:extLst>
          </p:cNvPr>
          <p:cNvGrpSpPr/>
          <p:nvPr userDrawn="1"/>
        </p:nvGrpSpPr>
        <p:grpSpPr>
          <a:xfrm>
            <a:off x="-6019906" y="-6303101"/>
            <a:ext cx="18211906" cy="13746195"/>
            <a:chOff x="-6019906" y="-6303101"/>
            <a:chExt cx="18211906" cy="13746195"/>
          </a:xfrm>
        </p:grpSpPr>
        <p:pic>
          <p:nvPicPr>
            <p:cNvPr id="7" name="Grafik 6">
              <a:extLst>
                <a:ext uri="{FF2B5EF4-FFF2-40B4-BE49-F238E27FC236}">
                  <a16:creationId xmlns:a16="http://schemas.microsoft.com/office/drawing/2014/main" id="{956D9FA2-0F15-83FE-A100-222731E4CAAB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alphaModFix amt="6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4373" t="13251" r="33299" b="44717"/>
            <a:stretch/>
          </p:blipFill>
          <p:spPr>
            <a:xfrm>
              <a:off x="0" y="0"/>
              <a:ext cx="12192000" cy="6858000"/>
            </a:xfrm>
            <a:prstGeom prst="rect">
              <a:avLst/>
            </a:prstGeom>
          </p:spPr>
        </p:pic>
        <p:sp>
          <p:nvSpPr>
            <p:cNvPr id="15" name="Rechteck 14">
              <a:extLst>
                <a:ext uri="{FF2B5EF4-FFF2-40B4-BE49-F238E27FC236}">
                  <a16:creationId xmlns:a16="http://schemas.microsoft.com/office/drawing/2014/main" id="{373A9244-06C4-ABCD-96C9-92717DC1364C}"/>
                </a:ext>
              </a:extLst>
            </p:cNvPr>
            <p:cNvSpPr/>
            <p:nvPr userDrawn="1"/>
          </p:nvSpPr>
          <p:spPr>
            <a:xfrm rot="2088470">
              <a:off x="-6019906" y="-6303101"/>
              <a:ext cx="9739721" cy="13746195"/>
            </a:xfrm>
            <a:prstGeom prst="rect">
              <a:avLst/>
            </a:prstGeom>
            <a:solidFill>
              <a:srgbClr val="A8D6EE">
                <a:alpha val="37367"/>
              </a:srgbClr>
            </a:solidFill>
            <a:ln>
              <a:noFill/>
            </a:ln>
            <a:effectLst>
              <a:glow rad="1734569">
                <a:srgbClr val="A8D6EE">
                  <a:alpha val="10000"/>
                </a:srgbClr>
              </a:glow>
              <a:softEdge rad="1270000"/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sp>
        <p:nvSpPr>
          <p:cNvPr id="16" name="Freihandform 15">
            <a:extLst>
              <a:ext uri="{FF2B5EF4-FFF2-40B4-BE49-F238E27FC236}">
                <a16:creationId xmlns:a16="http://schemas.microsoft.com/office/drawing/2014/main" id="{8CCC3AD3-6A45-2C90-CC70-4E5C1EF81E63}"/>
              </a:ext>
            </a:extLst>
          </p:cNvPr>
          <p:cNvSpPr/>
          <p:nvPr userDrawn="1"/>
        </p:nvSpPr>
        <p:spPr>
          <a:xfrm>
            <a:off x="-409651" y="2962656"/>
            <a:ext cx="12874752" cy="1974850"/>
          </a:xfrm>
          <a:custGeom>
            <a:avLst/>
            <a:gdLst>
              <a:gd name="connsiteX0" fmla="*/ 0 w 12874752"/>
              <a:gd name="connsiteY0" fmla="*/ 1002182 h 1974850"/>
              <a:gd name="connsiteX1" fmla="*/ 365760 w 12874752"/>
              <a:gd name="connsiteY1" fmla="*/ 1199693 h 1974850"/>
              <a:gd name="connsiteX2" fmla="*/ 1163117 w 12874752"/>
              <a:gd name="connsiteY2" fmla="*/ 1272845 h 1974850"/>
              <a:gd name="connsiteX3" fmla="*/ 2596896 w 12874752"/>
              <a:gd name="connsiteY3" fmla="*/ 1272845 h 1974850"/>
              <a:gd name="connsiteX4" fmla="*/ 3094329 w 12874752"/>
              <a:gd name="connsiteY4" fmla="*/ 1280160 h 1974850"/>
              <a:gd name="connsiteX5" fmla="*/ 3803904 w 12874752"/>
              <a:gd name="connsiteY5" fmla="*/ 1353312 h 1974850"/>
              <a:gd name="connsiteX6" fmla="*/ 4864608 w 12874752"/>
              <a:gd name="connsiteY6" fmla="*/ 1631290 h 1974850"/>
              <a:gd name="connsiteX7" fmla="*/ 5837529 w 12874752"/>
              <a:gd name="connsiteY7" fmla="*/ 1923898 h 1974850"/>
              <a:gd name="connsiteX8" fmla="*/ 6671462 w 12874752"/>
              <a:gd name="connsiteY8" fmla="*/ 1967789 h 1974850"/>
              <a:gd name="connsiteX9" fmla="*/ 8046720 w 12874752"/>
              <a:gd name="connsiteY9" fmla="*/ 1843430 h 1974850"/>
              <a:gd name="connsiteX10" fmla="*/ 8990381 w 12874752"/>
              <a:gd name="connsiteY10" fmla="*/ 1741018 h 1974850"/>
              <a:gd name="connsiteX11" fmla="*/ 9970617 w 12874752"/>
              <a:gd name="connsiteY11" fmla="*/ 1506931 h 1974850"/>
              <a:gd name="connsiteX12" fmla="*/ 11016691 w 12874752"/>
              <a:gd name="connsiteY12" fmla="*/ 1068019 h 1974850"/>
              <a:gd name="connsiteX13" fmla="*/ 12084710 w 12874752"/>
              <a:gd name="connsiteY13" fmla="*/ 409651 h 1974850"/>
              <a:gd name="connsiteX14" fmla="*/ 12874752 w 12874752"/>
              <a:gd name="connsiteY14" fmla="*/ 0 h 1974850"/>
              <a:gd name="connsiteX15" fmla="*/ 12874752 w 12874752"/>
              <a:gd name="connsiteY15" fmla="*/ 0 h 19748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2874752" h="1974850">
                <a:moveTo>
                  <a:pt x="0" y="1002182"/>
                </a:moveTo>
                <a:cubicBezTo>
                  <a:pt x="85953" y="1078382"/>
                  <a:pt x="171907" y="1154583"/>
                  <a:pt x="365760" y="1199693"/>
                </a:cubicBezTo>
                <a:cubicBezTo>
                  <a:pt x="559613" y="1244804"/>
                  <a:pt x="791261" y="1260653"/>
                  <a:pt x="1163117" y="1272845"/>
                </a:cubicBezTo>
                <a:cubicBezTo>
                  <a:pt x="1534973" y="1285037"/>
                  <a:pt x="2275027" y="1271626"/>
                  <a:pt x="2596896" y="1272845"/>
                </a:cubicBezTo>
                <a:cubicBezTo>
                  <a:pt x="2918765" y="1274064"/>
                  <a:pt x="2893161" y="1266749"/>
                  <a:pt x="3094329" y="1280160"/>
                </a:cubicBezTo>
                <a:cubicBezTo>
                  <a:pt x="3295497" y="1293571"/>
                  <a:pt x="3508858" y="1294790"/>
                  <a:pt x="3803904" y="1353312"/>
                </a:cubicBezTo>
                <a:cubicBezTo>
                  <a:pt x="4098950" y="1411834"/>
                  <a:pt x="4525671" y="1536192"/>
                  <a:pt x="4864608" y="1631290"/>
                </a:cubicBezTo>
                <a:cubicBezTo>
                  <a:pt x="5203545" y="1726388"/>
                  <a:pt x="5536387" y="1867815"/>
                  <a:pt x="5837529" y="1923898"/>
                </a:cubicBezTo>
                <a:cubicBezTo>
                  <a:pt x="6138671" y="1979981"/>
                  <a:pt x="6303264" y="1981200"/>
                  <a:pt x="6671462" y="1967789"/>
                </a:cubicBezTo>
                <a:cubicBezTo>
                  <a:pt x="7039660" y="1954378"/>
                  <a:pt x="7660234" y="1881225"/>
                  <a:pt x="8046720" y="1843430"/>
                </a:cubicBezTo>
                <a:cubicBezTo>
                  <a:pt x="8433206" y="1805635"/>
                  <a:pt x="8669732" y="1797101"/>
                  <a:pt x="8990381" y="1741018"/>
                </a:cubicBezTo>
                <a:cubicBezTo>
                  <a:pt x="9311030" y="1684935"/>
                  <a:pt x="9632899" y="1619097"/>
                  <a:pt x="9970617" y="1506931"/>
                </a:cubicBezTo>
                <a:cubicBezTo>
                  <a:pt x="10308335" y="1394765"/>
                  <a:pt x="10664342" y="1250899"/>
                  <a:pt x="11016691" y="1068019"/>
                </a:cubicBezTo>
                <a:cubicBezTo>
                  <a:pt x="11369040" y="885139"/>
                  <a:pt x="11775033" y="587654"/>
                  <a:pt x="12084710" y="409651"/>
                </a:cubicBezTo>
                <a:cubicBezTo>
                  <a:pt x="12394387" y="231648"/>
                  <a:pt x="12874752" y="0"/>
                  <a:pt x="12874752" y="0"/>
                </a:cubicBezTo>
                <a:lnTo>
                  <a:pt x="12874752" y="0"/>
                </a:lnTo>
              </a:path>
            </a:pathLst>
          </a:custGeom>
          <a:noFill/>
          <a:ln w="101600" cmpd="dbl">
            <a:solidFill>
              <a:srgbClr val="E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1" name="Gefaltete Ecke 10">
            <a:extLst>
              <a:ext uri="{FF2B5EF4-FFF2-40B4-BE49-F238E27FC236}">
                <a16:creationId xmlns:a16="http://schemas.microsoft.com/office/drawing/2014/main" id="{CBC5BC27-CFCF-DAC0-3234-E4A59041AD21}"/>
              </a:ext>
            </a:extLst>
          </p:cNvPr>
          <p:cNvSpPr/>
          <p:nvPr userDrawn="1"/>
        </p:nvSpPr>
        <p:spPr>
          <a:xfrm>
            <a:off x="1972707" y="1876585"/>
            <a:ext cx="4686002" cy="3347737"/>
          </a:xfrm>
          <a:prstGeom prst="foldedCorner">
            <a:avLst>
              <a:gd name="adj" fmla="val 0"/>
            </a:avLst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16000" tIns="180000" rIns="216000" rtlCol="0" anchor="t" anchorCtr="0"/>
          <a:lstStyle/>
          <a:p>
            <a:r>
              <a:rPr lang="de-DE" sz="1600" b="1" i="0">
                <a:solidFill>
                  <a:schemeClr val="tx1"/>
                </a:solidFill>
                <a:latin typeface="Approach Koeln SemiBold" pitchFamily="2" charset="0"/>
                <a:cs typeface="Arial" panose="020B0604020202020204" pitchFamily="34" charset="0"/>
              </a:rPr>
              <a:t>Kontakt</a:t>
            </a:r>
          </a:p>
          <a:p>
            <a:endParaRPr lang="de-DE" sz="1600" b="0" i="0">
              <a:solidFill>
                <a:schemeClr val="tx1"/>
              </a:solidFill>
              <a:latin typeface="Approach Koeln" pitchFamily="2" charset="0"/>
              <a:cs typeface="Arial" panose="020B0604020202020204" pitchFamily="34" charset="0"/>
            </a:endParaRPr>
          </a:p>
          <a:p>
            <a:r>
              <a:rPr lang="de-DE" sz="1600" b="0" i="0">
                <a:solidFill>
                  <a:schemeClr val="tx1"/>
                </a:solidFill>
                <a:latin typeface="Approach Koeln" pitchFamily="2" charset="0"/>
                <a:cs typeface="Arial" panose="020B0604020202020204" pitchFamily="34" charset="0"/>
              </a:rPr>
              <a:t>Kölner Verkehrs-Betriebe AG</a:t>
            </a:r>
          </a:p>
          <a:p>
            <a:r>
              <a:rPr lang="de-DE" sz="1600" b="0" i="0" err="1">
                <a:solidFill>
                  <a:schemeClr val="tx1"/>
                </a:solidFill>
                <a:latin typeface="Approach Koeln" pitchFamily="2" charset="0"/>
                <a:cs typeface="Arial" panose="020B0604020202020204" pitchFamily="34" charset="0"/>
              </a:rPr>
              <a:t>Scheidtweilerstr</a:t>
            </a:r>
            <a:r>
              <a:rPr lang="de-DE" sz="1600" b="0" i="0">
                <a:solidFill>
                  <a:schemeClr val="tx1"/>
                </a:solidFill>
                <a:latin typeface="Approach Koeln" pitchFamily="2" charset="0"/>
                <a:cs typeface="Arial" panose="020B0604020202020204" pitchFamily="34" charset="0"/>
              </a:rPr>
              <a:t>. 38</a:t>
            </a:r>
          </a:p>
          <a:p>
            <a:r>
              <a:rPr lang="de-DE" sz="1600" b="0" i="0">
                <a:solidFill>
                  <a:schemeClr val="tx1"/>
                </a:solidFill>
                <a:latin typeface="Approach Koeln" pitchFamily="2" charset="0"/>
                <a:cs typeface="Arial" panose="020B0604020202020204" pitchFamily="34" charset="0"/>
              </a:rPr>
              <a:t>50933 Köln</a:t>
            </a:r>
          </a:p>
          <a:p>
            <a:endParaRPr lang="de-DE" sz="1600" b="0" i="0">
              <a:solidFill>
                <a:schemeClr val="tx1"/>
              </a:solidFill>
              <a:latin typeface="Approach Koeln" pitchFamily="2" charset="0"/>
              <a:cs typeface="Arial" panose="020B0604020202020204" pitchFamily="34" charset="0"/>
            </a:endParaRPr>
          </a:p>
          <a:p>
            <a:endParaRPr lang="de-DE" sz="1600" b="0" i="0">
              <a:solidFill>
                <a:schemeClr val="tx1"/>
              </a:solidFill>
              <a:latin typeface="Approach Koeln" pitchFamily="2" charset="0"/>
              <a:cs typeface="Arial" panose="020B0604020202020204" pitchFamily="34" charset="0"/>
            </a:endParaRPr>
          </a:p>
          <a:p>
            <a:r>
              <a:rPr lang="de-DE" sz="1600" b="0" i="0">
                <a:solidFill>
                  <a:schemeClr val="tx1"/>
                </a:solidFill>
                <a:latin typeface="Approach Koeln" pitchFamily="2" charset="0"/>
                <a:cs typeface="Arial" panose="020B0604020202020204" pitchFamily="34" charset="0"/>
              </a:rPr>
              <a:t/>
            </a:r>
            <a:br>
              <a:rPr lang="de-DE" sz="1600" b="0" i="0">
                <a:solidFill>
                  <a:schemeClr val="tx1"/>
                </a:solidFill>
                <a:latin typeface="Approach Koeln" pitchFamily="2" charset="0"/>
                <a:cs typeface="Arial" panose="020B0604020202020204" pitchFamily="34" charset="0"/>
              </a:rPr>
            </a:br>
            <a:r>
              <a:rPr lang="de-DE" sz="1600" b="0" i="0">
                <a:solidFill>
                  <a:schemeClr val="tx1"/>
                </a:solidFill>
                <a:latin typeface="Approach Koeln" pitchFamily="2" charset="0"/>
                <a:cs typeface="Arial" panose="020B0604020202020204" pitchFamily="34" charset="0"/>
              </a:rPr>
              <a:t>E-Mail: </a:t>
            </a:r>
            <a:r>
              <a:rPr lang="de-DE" sz="1600" b="0" i="0" err="1">
                <a:solidFill>
                  <a:schemeClr val="tx1"/>
                </a:solidFill>
                <a:latin typeface="Approach Koeln" pitchFamily="2" charset="0"/>
                <a:cs typeface="Arial" panose="020B0604020202020204" pitchFamily="34" charset="0"/>
                <a:hlinkClick r:id="rId3">
                  <a:extLst>
                    <a:ext uri="{A12FA001-AC4F-418D-AE19-62706E023703}">
                      <ahyp:hlinkClr xmlns="" xmlns:ahyp="http://schemas.microsoft.com/office/drawing/2018/hyperlinkcolor" val="tx"/>
                    </a:ext>
                  </a:extLst>
                </a:hlinkClick>
              </a:rPr>
              <a:t>ostwestachse@kvb.koeln</a:t>
            </a:r>
            <a:r>
              <a:rPr lang="de-DE" sz="1600" b="0" i="0">
                <a:solidFill>
                  <a:schemeClr val="tx1"/>
                </a:solidFill>
                <a:latin typeface="Approach Koeln" pitchFamily="2" charset="0"/>
                <a:cs typeface="Arial" panose="020B0604020202020204" pitchFamily="34" charset="0"/>
              </a:rPr>
              <a:t>  </a:t>
            </a:r>
            <a:r>
              <a:rPr lang="de-DE" sz="1600" b="0" i="0">
                <a:latin typeface="Approach Koeln" pitchFamily="2" charset="0"/>
              </a:rPr>
              <a:t>.</a:t>
            </a:r>
            <a:endParaRPr lang="de-DE" sz="1600" b="0" i="0">
              <a:solidFill>
                <a:schemeClr val="tx1"/>
              </a:solidFill>
              <a:latin typeface="Approach Koeln" pitchFamily="2" charset="0"/>
              <a:cs typeface="Arial" panose="020B0604020202020204" pitchFamily="34" charset="0"/>
            </a:endParaRPr>
          </a:p>
          <a:p>
            <a:endParaRPr lang="de-DE" sz="1600" b="1" i="0">
              <a:solidFill>
                <a:schemeClr val="tx1"/>
              </a:solidFill>
              <a:latin typeface="Approach Koeln SemiBold" pitchFamily="2" charset="0"/>
              <a:cs typeface="Arial" panose="020B0604020202020204" pitchFamily="34" charset="0"/>
            </a:endParaRPr>
          </a:p>
          <a:p>
            <a:r>
              <a:rPr lang="de-DE" sz="1600" b="1" i="0">
                <a:solidFill>
                  <a:schemeClr val="tx1"/>
                </a:solidFill>
                <a:latin typeface="Approach Koeln SemiBold" pitchFamily="2" charset="0"/>
                <a:cs typeface="Arial" panose="020B0604020202020204" pitchFamily="34" charset="0"/>
              </a:rPr>
              <a:t>www.ostwestachse.koeln</a:t>
            </a:r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2993614C-8AE7-BE9F-76CC-23AC62ABFF89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6851678" y="3865438"/>
            <a:ext cx="1790700" cy="1638300"/>
          </a:xfrm>
          <a:prstGeom prst="rect">
            <a:avLst/>
          </a:prstGeom>
        </p:spPr>
      </p:pic>
      <p:grpSp>
        <p:nvGrpSpPr>
          <p:cNvPr id="14" name="Gruppieren 13">
            <a:extLst>
              <a:ext uri="{FF2B5EF4-FFF2-40B4-BE49-F238E27FC236}">
                <a16:creationId xmlns:a16="http://schemas.microsoft.com/office/drawing/2014/main" id="{FD728FF7-E74E-BA00-2711-4363F2449D74}"/>
              </a:ext>
            </a:extLst>
          </p:cNvPr>
          <p:cNvGrpSpPr/>
          <p:nvPr userDrawn="1"/>
        </p:nvGrpSpPr>
        <p:grpSpPr>
          <a:xfrm>
            <a:off x="5523349" y="1462815"/>
            <a:ext cx="5007059" cy="3072910"/>
            <a:chOff x="5855247" y="3102512"/>
            <a:chExt cx="5007059" cy="3072910"/>
          </a:xfrm>
        </p:grpSpPr>
        <p:grpSp>
          <p:nvGrpSpPr>
            <p:cNvPr id="2" name="Gruppieren 1">
              <a:extLst>
                <a:ext uri="{FF2B5EF4-FFF2-40B4-BE49-F238E27FC236}">
                  <a16:creationId xmlns:a16="http://schemas.microsoft.com/office/drawing/2014/main" id="{1E9C432C-813E-DD77-022C-48251E044DCC}"/>
                </a:ext>
              </a:extLst>
            </p:cNvPr>
            <p:cNvGrpSpPr/>
            <p:nvPr userDrawn="1"/>
          </p:nvGrpSpPr>
          <p:grpSpPr>
            <a:xfrm>
              <a:off x="5855247" y="3102512"/>
              <a:ext cx="5007059" cy="3072910"/>
              <a:chOff x="6707173" y="1777194"/>
              <a:chExt cx="4378106" cy="2686914"/>
            </a:xfrm>
          </p:grpSpPr>
          <p:sp>
            <p:nvSpPr>
              <p:cNvPr id="9" name="Rechteck 8">
                <a:extLst>
                  <a:ext uri="{FF2B5EF4-FFF2-40B4-BE49-F238E27FC236}">
                    <a16:creationId xmlns:a16="http://schemas.microsoft.com/office/drawing/2014/main" id="{11ADF588-093A-67CC-50CA-C06AF9122573}"/>
                  </a:ext>
                </a:extLst>
              </p:cNvPr>
              <p:cNvSpPr/>
              <p:nvPr userDrawn="1"/>
            </p:nvSpPr>
            <p:spPr>
              <a:xfrm>
                <a:off x="6707173" y="1777194"/>
                <a:ext cx="4378106" cy="2009948"/>
              </a:xfrm>
              <a:prstGeom prst="rect">
                <a:avLst/>
              </a:prstGeom>
              <a:solidFill>
                <a:srgbClr val="238A8D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10" name="Rechtwinkliges Dreieck 9">
                <a:extLst>
                  <a:ext uri="{FF2B5EF4-FFF2-40B4-BE49-F238E27FC236}">
                    <a16:creationId xmlns:a16="http://schemas.microsoft.com/office/drawing/2014/main" id="{3FC5449C-0EC3-783B-A0A4-6380CB72FCB3}"/>
                  </a:ext>
                </a:extLst>
              </p:cNvPr>
              <p:cNvSpPr/>
              <p:nvPr userDrawn="1"/>
            </p:nvSpPr>
            <p:spPr>
              <a:xfrm rot="933014" flipV="1">
                <a:off x="9146456" y="3379495"/>
                <a:ext cx="912423" cy="1084613"/>
              </a:xfrm>
              <a:prstGeom prst="rtTriangle">
                <a:avLst/>
              </a:prstGeom>
              <a:solidFill>
                <a:srgbClr val="238A8D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</p:grpSp>
        <p:sp>
          <p:nvSpPr>
            <p:cNvPr id="8" name="Textfeld 7">
              <a:extLst>
                <a:ext uri="{FF2B5EF4-FFF2-40B4-BE49-F238E27FC236}">
                  <a16:creationId xmlns:a16="http://schemas.microsoft.com/office/drawing/2014/main" id="{288FB1BE-FDBE-0B2F-D622-0702766A7611}"/>
                </a:ext>
              </a:extLst>
            </p:cNvPr>
            <p:cNvSpPr txBox="1"/>
            <p:nvPr userDrawn="1"/>
          </p:nvSpPr>
          <p:spPr>
            <a:xfrm>
              <a:off x="5967125" y="4462615"/>
              <a:ext cx="4533335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endParaRPr lang="de-DE" sz="1800" b="0" i="0">
                <a:solidFill>
                  <a:schemeClr val="bg1"/>
                </a:solidFill>
                <a:latin typeface="Approach Koeln" pitchFamily="2" charset="0"/>
              </a:endParaRPr>
            </a:p>
          </p:txBody>
        </p:sp>
        <p:sp>
          <p:nvSpPr>
            <p:cNvPr id="13" name="Textfeld 12">
              <a:extLst>
                <a:ext uri="{FF2B5EF4-FFF2-40B4-BE49-F238E27FC236}">
                  <a16:creationId xmlns:a16="http://schemas.microsoft.com/office/drawing/2014/main" id="{4520C820-7D06-60FE-FF5B-EBB64E658B52}"/>
                </a:ext>
              </a:extLst>
            </p:cNvPr>
            <p:cNvSpPr txBox="1"/>
            <p:nvPr userDrawn="1"/>
          </p:nvSpPr>
          <p:spPr>
            <a:xfrm>
              <a:off x="6115042" y="3324074"/>
              <a:ext cx="4631516" cy="181588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2800" b="1" i="0">
                  <a:solidFill>
                    <a:schemeClr val="bg1"/>
                  </a:solidFill>
                  <a:latin typeface="Approach Koeln" pitchFamily="2" charset="0"/>
                </a:rPr>
                <a:t>Vielen Dank</a:t>
              </a:r>
              <a:br>
                <a:rPr lang="de-DE" sz="2800" b="1" i="0">
                  <a:solidFill>
                    <a:schemeClr val="bg1"/>
                  </a:solidFill>
                  <a:latin typeface="Approach Koeln" pitchFamily="2" charset="0"/>
                </a:rPr>
              </a:br>
              <a:r>
                <a:rPr lang="de-DE" sz="2800" b="0" i="0">
                  <a:solidFill>
                    <a:schemeClr val="bg1"/>
                  </a:solidFill>
                  <a:latin typeface="Approach Koeln" pitchFamily="2" charset="0"/>
                </a:rPr>
                <a:t>Wir stehen für Ihre Fragen im Anschluss gerne persönlich zur Verfügung.</a:t>
              </a:r>
            </a:p>
          </p:txBody>
        </p:sp>
      </p:grpSp>
      <p:sp>
        <p:nvSpPr>
          <p:cNvPr id="17" name="Textfeld 16">
            <a:extLst>
              <a:ext uri="{FF2B5EF4-FFF2-40B4-BE49-F238E27FC236}">
                <a16:creationId xmlns:a16="http://schemas.microsoft.com/office/drawing/2014/main" id="{6FD9F59F-965A-61B5-BBCF-7CAE190787F0}"/>
              </a:ext>
            </a:extLst>
          </p:cNvPr>
          <p:cNvSpPr txBox="1"/>
          <p:nvPr userDrawn="1"/>
        </p:nvSpPr>
        <p:spPr>
          <a:xfrm>
            <a:off x="825503" y="6339798"/>
            <a:ext cx="8191781" cy="307777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algn="l"/>
            <a:endParaRPr lang="de-DE" sz="1000" b="0" i="0">
              <a:solidFill>
                <a:srgbClr val="FF0000"/>
              </a:solidFill>
              <a:latin typeface="Approach Koeln SemiBold" pitchFamily="2" charset="0"/>
            </a:endParaRPr>
          </a:p>
          <a:p>
            <a:pPr algn="l"/>
            <a:r>
              <a:rPr lang="de-DE" sz="1000" b="0" i="0">
                <a:solidFill>
                  <a:srgbClr val="FF0000"/>
                </a:solidFill>
                <a:latin typeface="Approach Koeln SemiBold" pitchFamily="2" charset="0"/>
              </a:rPr>
              <a:t>Kölner Verkehrs-Betriebe AG</a:t>
            </a:r>
            <a:endParaRPr lang="de-DE" sz="1000" b="0" i="0">
              <a:solidFill>
                <a:srgbClr val="FF0000"/>
              </a:solidFill>
              <a:latin typeface="Approach Koeln" pitchFamily="2" charset="0"/>
            </a:endParaRPr>
          </a:p>
        </p:txBody>
      </p:sp>
      <p:grpSp>
        <p:nvGrpSpPr>
          <p:cNvPr id="3" name="Gruppieren 2">
            <a:extLst>
              <a:ext uri="{FF2B5EF4-FFF2-40B4-BE49-F238E27FC236}">
                <a16:creationId xmlns:a16="http://schemas.microsoft.com/office/drawing/2014/main" id="{40BFED5F-9469-769C-52E8-AFF1A718B1AF}"/>
              </a:ext>
            </a:extLst>
          </p:cNvPr>
          <p:cNvGrpSpPr/>
          <p:nvPr userDrawn="1"/>
        </p:nvGrpSpPr>
        <p:grpSpPr>
          <a:xfrm>
            <a:off x="282578" y="210425"/>
            <a:ext cx="2850036" cy="382306"/>
            <a:chOff x="282578" y="210425"/>
            <a:chExt cx="2850036" cy="382306"/>
          </a:xfrm>
        </p:grpSpPr>
        <p:pic>
          <p:nvPicPr>
            <p:cNvPr id="4" name="Grafik 3">
              <a:extLst>
                <a:ext uri="{FF2B5EF4-FFF2-40B4-BE49-F238E27FC236}">
                  <a16:creationId xmlns:a16="http://schemas.microsoft.com/office/drawing/2014/main" id="{D19536F7-25AF-645D-40F3-5D8C421E20F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282578" y="210425"/>
              <a:ext cx="1682284" cy="359572"/>
            </a:xfrm>
            <a:prstGeom prst="rect">
              <a:avLst/>
            </a:prstGeom>
          </p:spPr>
        </p:pic>
        <p:pic>
          <p:nvPicPr>
            <p:cNvPr id="18" name="Grafik 17">
              <a:extLst>
                <a:ext uri="{FF2B5EF4-FFF2-40B4-BE49-F238E27FC236}">
                  <a16:creationId xmlns:a16="http://schemas.microsoft.com/office/drawing/2014/main" id="{F5039652-598B-343B-0440-567CC8F8C85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334943" y="257118"/>
              <a:ext cx="797671" cy="33561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0689899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sverzeichn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Inhaltsplatzhalter 2">
            <a:extLst>
              <a:ext uri="{FF2B5EF4-FFF2-40B4-BE49-F238E27FC236}">
                <a16:creationId xmlns:a16="http://schemas.microsoft.com/office/drawing/2014/main" id="{FD8636E5-3424-F06B-64C7-12FA7EAE5565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2338466" y="2533338"/>
            <a:ext cx="5943887" cy="1328050"/>
          </a:xfrm>
          <a:prstGeom prst="rect">
            <a:avLst/>
          </a:prstGeom>
        </p:spPr>
        <p:txBody>
          <a:bodyPr/>
          <a:lstStyle>
            <a:lvl1pPr marL="0" indent="0">
              <a:buFont typeface="+mj-lt"/>
              <a:buNone/>
              <a:defRPr sz="1800" b="0" i="0">
                <a:latin typeface="Approach Koeln"/>
              </a:defRPr>
            </a:lvl1pPr>
            <a:lvl2pPr marL="712788" indent="-346075">
              <a:buFont typeface="+mj-lt"/>
              <a:buAutoNum type="arabicPeriod"/>
              <a:defRPr sz="1800" b="0" i="0">
                <a:latin typeface="Approach Koeln" pitchFamily="2" charset="0"/>
              </a:defRPr>
            </a:lvl2pPr>
            <a:lvl3pPr marL="1077913" indent="-363538">
              <a:buFont typeface="+mj-lt"/>
              <a:buAutoNum type="arabicPeriod"/>
              <a:defRPr sz="1800" b="0" i="0">
                <a:latin typeface="Approach Koeln" pitchFamily="2" charset="0"/>
              </a:defRPr>
            </a:lvl3pPr>
          </a:lstStyle>
          <a:p>
            <a:pPr lvl="0"/>
            <a:r>
              <a:rPr lang="de-DE"/>
              <a:t>Begrüßung und Rückblick </a:t>
            </a:r>
          </a:p>
          <a:p>
            <a:pPr lvl="0"/>
            <a:endParaRPr lang="de-DE"/>
          </a:p>
          <a:p>
            <a:pPr lvl="0"/>
            <a:r>
              <a:rPr lang="de-DE"/>
              <a:t>Vorstellen der Planungen zum Umbau der Haltestellen im rechtsrheinischen Abschnitt</a:t>
            </a:r>
          </a:p>
          <a:p>
            <a:pPr lvl="0"/>
            <a:endParaRPr lang="de-DE"/>
          </a:p>
          <a:p>
            <a:pPr lvl="0"/>
            <a:r>
              <a:rPr lang="de-DE"/>
              <a:t>Projektkommunikation und Ausblick</a:t>
            </a:r>
          </a:p>
          <a:p>
            <a:pPr lvl="0"/>
            <a:endParaRPr lang="de-DE"/>
          </a:p>
        </p:txBody>
      </p:sp>
      <p:sp>
        <p:nvSpPr>
          <p:cNvPr id="2" name="Oval 16">
            <a:extLst>
              <a:ext uri="{FF2B5EF4-FFF2-40B4-BE49-F238E27FC236}">
                <a16:creationId xmlns:a16="http://schemas.microsoft.com/office/drawing/2014/main" id="{4D010BE2-D39C-B04F-1590-66F50EB68CB2}"/>
              </a:ext>
            </a:extLst>
          </p:cNvPr>
          <p:cNvSpPr/>
          <p:nvPr userDrawn="1"/>
        </p:nvSpPr>
        <p:spPr>
          <a:xfrm>
            <a:off x="1270084" y="2338304"/>
            <a:ext cx="629786" cy="629786"/>
          </a:xfrm>
          <a:prstGeom prst="ellipse">
            <a:avLst/>
          </a:prstGeom>
          <a:solidFill>
            <a:srgbClr val="E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3300" b="1">
                <a:solidFill>
                  <a:schemeClr val="bg1"/>
                </a:solidFill>
                <a:latin typeface="Approach Koeln"/>
              </a:rPr>
              <a:t>1</a:t>
            </a:r>
          </a:p>
        </p:txBody>
      </p:sp>
      <p:sp>
        <p:nvSpPr>
          <p:cNvPr id="3" name="Oval 16">
            <a:extLst>
              <a:ext uri="{FF2B5EF4-FFF2-40B4-BE49-F238E27FC236}">
                <a16:creationId xmlns:a16="http://schemas.microsoft.com/office/drawing/2014/main" id="{78AA754B-7BF8-10C1-A953-394B9E4E2566}"/>
              </a:ext>
            </a:extLst>
          </p:cNvPr>
          <p:cNvSpPr/>
          <p:nvPr userDrawn="1"/>
        </p:nvSpPr>
        <p:spPr>
          <a:xfrm>
            <a:off x="1270084" y="3222545"/>
            <a:ext cx="629786" cy="629786"/>
          </a:xfrm>
          <a:prstGeom prst="ellipse">
            <a:avLst/>
          </a:prstGeom>
          <a:solidFill>
            <a:srgbClr val="E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3300" b="1">
                <a:solidFill>
                  <a:schemeClr val="bg1"/>
                </a:solidFill>
                <a:latin typeface="Approach Koeln"/>
              </a:rPr>
              <a:t>2</a:t>
            </a:r>
          </a:p>
        </p:txBody>
      </p:sp>
      <p:sp>
        <p:nvSpPr>
          <p:cNvPr id="4" name="Oval 16">
            <a:extLst>
              <a:ext uri="{FF2B5EF4-FFF2-40B4-BE49-F238E27FC236}">
                <a16:creationId xmlns:a16="http://schemas.microsoft.com/office/drawing/2014/main" id="{B25EE296-0E89-459B-D7C9-2785EB09C407}"/>
              </a:ext>
            </a:extLst>
          </p:cNvPr>
          <p:cNvSpPr/>
          <p:nvPr userDrawn="1"/>
        </p:nvSpPr>
        <p:spPr>
          <a:xfrm>
            <a:off x="1270084" y="4106786"/>
            <a:ext cx="629786" cy="629786"/>
          </a:xfrm>
          <a:prstGeom prst="ellipse">
            <a:avLst/>
          </a:prstGeom>
          <a:solidFill>
            <a:srgbClr val="E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3300" b="1">
                <a:solidFill>
                  <a:schemeClr val="bg1"/>
                </a:solidFill>
                <a:latin typeface="Approach Koeln"/>
              </a:rPr>
              <a:t>3</a:t>
            </a:r>
          </a:p>
        </p:txBody>
      </p:sp>
    </p:spTree>
    <p:extLst>
      <p:ext uri="{BB962C8B-B14F-4D97-AF65-F5344CB8AC3E}">
        <p14:creationId xmlns:p14="http://schemas.microsoft.com/office/powerpoint/2010/main" val="17902138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29" userDrawn="1">
          <p15:clr>
            <a:srgbClr val="FBAE40"/>
          </p15:clr>
        </p15:guide>
        <p15:guide id="2" orient="horz" pos="527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2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2.svg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1.png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.xml"/><Relationship Id="rId13" Type="http://schemas.openxmlformats.org/officeDocument/2006/relationships/slideLayout" Target="../slideLayouts/slideLayout21.xml"/><Relationship Id="rId3" Type="http://schemas.openxmlformats.org/officeDocument/2006/relationships/slideLayout" Target="../slideLayouts/slideLayout11.xml"/><Relationship Id="rId7" Type="http://schemas.openxmlformats.org/officeDocument/2006/relationships/slideLayout" Target="../slideLayouts/slideLayout15.xml"/><Relationship Id="rId12" Type="http://schemas.openxmlformats.org/officeDocument/2006/relationships/slideLayout" Target="../slideLayouts/slideLayout20.xml"/><Relationship Id="rId2" Type="http://schemas.openxmlformats.org/officeDocument/2006/relationships/slideLayout" Target="../slideLayouts/slideLayout10.xml"/><Relationship Id="rId16" Type="http://schemas.openxmlformats.org/officeDocument/2006/relationships/theme" Target="../theme/theme2.xml"/><Relationship Id="rId1" Type="http://schemas.openxmlformats.org/officeDocument/2006/relationships/slideLayout" Target="../slideLayouts/slideLayout9.xml"/><Relationship Id="rId6" Type="http://schemas.openxmlformats.org/officeDocument/2006/relationships/slideLayout" Target="../slideLayouts/slideLayout14.xml"/><Relationship Id="rId11" Type="http://schemas.openxmlformats.org/officeDocument/2006/relationships/slideLayout" Target="../slideLayouts/slideLayout19.xml"/><Relationship Id="rId5" Type="http://schemas.openxmlformats.org/officeDocument/2006/relationships/slideLayout" Target="../slideLayouts/slideLayout13.xml"/><Relationship Id="rId15" Type="http://schemas.openxmlformats.org/officeDocument/2006/relationships/slideLayout" Target="../slideLayouts/slideLayout23.xml"/><Relationship Id="rId10" Type="http://schemas.openxmlformats.org/officeDocument/2006/relationships/slideLayout" Target="../slideLayouts/slideLayout18.xml"/><Relationship Id="rId4" Type="http://schemas.openxmlformats.org/officeDocument/2006/relationships/slideLayout" Target="../slideLayouts/slideLayout12.xml"/><Relationship Id="rId9" Type="http://schemas.openxmlformats.org/officeDocument/2006/relationships/slideLayout" Target="../slideLayouts/slideLayout17.xml"/><Relationship Id="rId14" Type="http://schemas.openxmlformats.org/officeDocument/2006/relationships/slideLayout" Target="../slideLayouts/slideLayout2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1.xml"/><Relationship Id="rId13" Type="http://schemas.openxmlformats.org/officeDocument/2006/relationships/oleObject" Target="../embeddings/oleObject1.bin"/><Relationship Id="rId3" Type="http://schemas.openxmlformats.org/officeDocument/2006/relationships/slideLayout" Target="../slideLayouts/slideLayout26.xml"/><Relationship Id="rId7" Type="http://schemas.openxmlformats.org/officeDocument/2006/relationships/slideLayout" Target="../slideLayouts/slideLayout30.xml"/><Relationship Id="rId12" Type="http://schemas.openxmlformats.org/officeDocument/2006/relationships/tags" Target="../tags/tag1.xml"/><Relationship Id="rId2" Type="http://schemas.openxmlformats.org/officeDocument/2006/relationships/slideLayout" Target="../slideLayouts/slideLayout25.xml"/><Relationship Id="rId1" Type="http://schemas.openxmlformats.org/officeDocument/2006/relationships/slideLayout" Target="../slideLayouts/slideLayout24.xml"/><Relationship Id="rId6" Type="http://schemas.openxmlformats.org/officeDocument/2006/relationships/slideLayout" Target="../slideLayouts/slideLayout29.xml"/><Relationship Id="rId11" Type="http://schemas.openxmlformats.org/officeDocument/2006/relationships/vmlDrawing" Target="../drawings/vmlDrawing1.vml"/><Relationship Id="rId5" Type="http://schemas.openxmlformats.org/officeDocument/2006/relationships/slideLayout" Target="../slideLayouts/slideLayout28.xml"/><Relationship Id="rId10" Type="http://schemas.openxmlformats.org/officeDocument/2006/relationships/theme" Target="../theme/theme3.xml"/><Relationship Id="rId4" Type="http://schemas.openxmlformats.org/officeDocument/2006/relationships/slideLayout" Target="../slideLayouts/slideLayout27.xml"/><Relationship Id="rId9" Type="http://schemas.openxmlformats.org/officeDocument/2006/relationships/slideLayout" Target="../slideLayouts/slideLayout32.xml"/><Relationship Id="rId14" Type="http://schemas.openxmlformats.org/officeDocument/2006/relationships/image" Target="../media/image20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6">
            <a:extLst>
              <a:ext uri="{FF2B5EF4-FFF2-40B4-BE49-F238E27FC236}">
                <a16:creationId xmlns:a16="http://schemas.microsoft.com/office/drawing/2014/main" id="{B2BE2811-AFEA-7F29-20EE-8610A8068E78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366497" y="6493687"/>
            <a:ext cx="554639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defPPr>
              <a:defRPr lang="de-DE"/>
            </a:defPPr>
            <a:lvl1pPr algn="r" defTabSz="881063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4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4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4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4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9pPr>
          </a:lstStyle>
          <a:p>
            <a:r>
              <a:rPr lang="de-DE" sz="1000">
                <a:solidFill>
                  <a:srgbClr val="EF0000"/>
                </a:solidFill>
                <a:latin typeface="Approach Koeln" pitchFamily="2" charset="0"/>
              </a:rPr>
              <a:t>Folie </a:t>
            </a:r>
            <a:fld id="{52E4B4D7-5B28-445D-82E9-F0929806F258}" type="slidenum">
              <a:rPr lang="de-DE" sz="1000" smtClean="0">
                <a:solidFill>
                  <a:srgbClr val="EF0000"/>
                </a:solidFill>
                <a:latin typeface="Approach Koeln" pitchFamily="2" charset="0"/>
              </a:rPr>
              <a:pPr/>
              <a:t>‹Nr.›</a:t>
            </a:fld>
            <a:endParaRPr lang="de-DE" sz="1000">
              <a:solidFill>
                <a:srgbClr val="EF0000"/>
              </a:solidFill>
              <a:latin typeface="Approach Koeln" pitchFamily="2" charset="0"/>
            </a:endParaRPr>
          </a:p>
        </p:txBody>
      </p:sp>
      <p:sp>
        <p:nvSpPr>
          <p:cNvPr id="4" name="Textfeld 3">
            <a:extLst>
              <a:ext uri="{FF2B5EF4-FFF2-40B4-BE49-F238E27FC236}">
                <a16:creationId xmlns:a16="http://schemas.microsoft.com/office/drawing/2014/main" id="{2723472C-96C9-5AC3-5015-7E3589D24DB3}"/>
              </a:ext>
            </a:extLst>
          </p:cNvPr>
          <p:cNvSpPr txBox="1"/>
          <p:nvPr userDrawn="1"/>
        </p:nvSpPr>
        <p:spPr>
          <a:xfrm>
            <a:off x="825503" y="6339798"/>
            <a:ext cx="8191781" cy="307777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algn="l"/>
            <a:endParaRPr lang="de-DE" sz="1000" b="0" i="0">
              <a:solidFill>
                <a:srgbClr val="FF0000"/>
              </a:solidFill>
              <a:latin typeface="Approach Koeln SemiBold" pitchFamily="2" charset="0"/>
            </a:endParaRPr>
          </a:p>
          <a:p>
            <a:pPr algn="l"/>
            <a:r>
              <a:rPr lang="de-DE" sz="1000" b="0" i="0">
                <a:solidFill>
                  <a:srgbClr val="FF0000"/>
                </a:solidFill>
                <a:latin typeface="Approach Koeln SemiBold" pitchFamily="2" charset="0"/>
              </a:rPr>
              <a:t>Kölner Verkehrs-Betriebe AG</a:t>
            </a:r>
            <a:endParaRPr lang="de-DE" sz="1000" b="0" i="0">
              <a:solidFill>
                <a:srgbClr val="FF0000"/>
              </a:solidFill>
              <a:latin typeface="Approach Koeln" pitchFamily="2" charset="0"/>
            </a:endParaRPr>
          </a:p>
        </p:txBody>
      </p:sp>
      <p:grpSp>
        <p:nvGrpSpPr>
          <p:cNvPr id="5" name="Gruppieren 4">
            <a:extLst>
              <a:ext uri="{FF2B5EF4-FFF2-40B4-BE49-F238E27FC236}">
                <a16:creationId xmlns:a16="http://schemas.microsoft.com/office/drawing/2014/main" id="{3DC3328E-0BAC-9012-7B29-BAC521258E64}"/>
              </a:ext>
            </a:extLst>
          </p:cNvPr>
          <p:cNvGrpSpPr/>
          <p:nvPr userDrawn="1"/>
        </p:nvGrpSpPr>
        <p:grpSpPr>
          <a:xfrm>
            <a:off x="282578" y="210425"/>
            <a:ext cx="2850036" cy="382306"/>
            <a:chOff x="282578" y="210425"/>
            <a:chExt cx="2850036" cy="382306"/>
          </a:xfrm>
        </p:grpSpPr>
        <p:pic>
          <p:nvPicPr>
            <p:cNvPr id="6" name="Grafik 5">
              <a:extLst>
                <a:ext uri="{FF2B5EF4-FFF2-40B4-BE49-F238E27FC236}">
                  <a16:creationId xmlns:a16="http://schemas.microsoft.com/office/drawing/2014/main" id="{39AC8CE2-E51C-8203-7A41-69BDBE192D3E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282578" y="210425"/>
              <a:ext cx="1682284" cy="359572"/>
            </a:xfrm>
            <a:prstGeom prst="rect">
              <a:avLst/>
            </a:prstGeom>
          </p:spPr>
        </p:pic>
        <p:pic>
          <p:nvPicPr>
            <p:cNvPr id="7" name="Grafik 6">
              <a:extLst>
                <a:ext uri="{FF2B5EF4-FFF2-40B4-BE49-F238E27FC236}">
                  <a16:creationId xmlns:a16="http://schemas.microsoft.com/office/drawing/2014/main" id="{DF038B0B-DA9E-8230-8084-CA3C5B916E3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334943" y="257118"/>
              <a:ext cx="797671" cy="335613"/>
            </a:xfrm>
            <a:prstGeom prst="rect">
              <a:avLst/>
            </a:prstGeom>
          </p:spPr>
        </p:pic>
      </p:grp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21" r:id="rId1"/>
    <p:sldLayoutId id="2147483720" r:id="rId2"/>
    <p:sldLayoutId id="2147483710" r:id="rId3"/>
    <p:sldLayoutId id="2147483711" r:id="rId4"/>
    <p:sldLayoutId id="2147483713" r:id="rId5"/>
    <p:sldLayoutId id="2147483719" r:id="rId6"/>
    <p:sldLayoutId id="2147483712" r:id="rId7"/>
    <p:sldLayoutId id="2147483708" r:id="rId8"/>
  </p:sldLayoutIdLst>
  <p:hf hdr="0" dt="0"/>
  <p:txStyles>
    <p:titleStyle>
      <a:lvl1pPr algn="l" defTabSz="881063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881063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Verdana" pitchFamily="34" charset="0"/>
        </a:defRPr>
      </a:lvl2pPr>
      <a:lvl3pPr algn="l" defTabSz="881063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Verdana" pitchFamily="34" charset="0"/>
        </a:defRPr>
      </a:lvl3pPr>
      <a:lvl4pPr algn="l" defTabSz="881063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Verdana" pitchFamily="34" charset="0"/>
        </a:defRPr>
      </a:lvl4pPr>
      <a:lvl5pPr algn="l" defTabSz="881063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Verdana" pitchFamily="34" charset="0"/>
        </a:defRPr>
      </a:lvl5pPr>
      <a:lvl6pPr marL="457200" algn="l" defTabSz="881063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Verdana" pitchFamily="34" charset="0"/>
        </a:defRPr>
      </a:lvl6pPr>
      <a:lvl7pPr marL="914400" algn="l" defTabSz="881063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Verdana" pitchFamily="34" charset="0"/>
        </a:defRPr>
      </a:lvl7pPr>
      <a:lvl8pPr marL="1371600" algn="l" defTabSz="881063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Verdana" pitchFamily="34" charset="0"/>
        </a:defRPr>
      </a:lvl8pPr>
      <a:lvl9pPr marL="1828800" algn="l" defTabSz="881063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Verdana" pitchFamily="34" charset="0"/>
        </a:defRPr>
      </a:lvl9pPr>
    </p:titleStyle>
    <p:bodyStyle>
      <a:lvl1pPr marL="365125" indent="-365125" algn="l" defTabSz="881063" rtl="0" eaLnBrk="1" fontAlgn="base" hangingPunct="1">
        <a:lnSpc>
          <a:spcPct val="110000"/>
        </a:lnSpc>
        <a:spcBef>
          <a:spcPct val="3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  <a:ea typeface="+mn-ea"/>
          <a:cs typeface="+mn-cs"/>
        </a:defRPr>
      </a:lvl1pPr>
      <a:lvl2pPr marL="712788" indent="-346075" algn="l" defTabSz="881063" rtl="0" eaLnBrk="1" fontAlgn="base" hangingPunct="1">
        <a:lnSpc>
          <a:spcPct val="110000"/>
        </a:lnSpc>
        <a:spcBef>
          <a:spcPct val="3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</a:defRPr>
      </a:lvl2pPr>
      <a:lvl3pPr marL="1077913" indent="-363538" algn="l" defTabSz="881063" rtl="0" eaLnBrk="1" fontAlgn="base" hangingPunct="1">
        <a:lnSpc>
          <a:spcPct val="110000"/>
        </a:lnSpc>
        <a:spcBef>
          <a:spcPct val="30000"/>
        </a:spcBef>
        <a:spcAft>
          <a:spcPct val="0"/>
        </a:spcAft>
        <a:buFont typeface="Verdana" pitchFamily="34" charset="0"/>
        <a:buChar char="»"/>
        <a:defRPr sz="2000">
          <a:solidFill>
            <a:schemeClr val="tx1"/>
          </a:solidFill>
          <a:latin typeface="+mn-lt"/>
        </a:defRPr>
      </a:lvl3pPr>
      <a:lvl4pPr marL="1427163" indent="-344488" algn="l" defTabSz="881063" rtl="0" eaLnBrk="1" fontAlgn="base" hangingPunct="1">
        <a:lnSpc>
          <a:spcPct val="110000"/>
        </a:lnSpc>
        <a:spcBef>
          <a:spcPct val="30000"/>
        </a:spcBef>
        <a:spcAft>
          <a:spcPct val="0"/>
        </a:spcAft>
        <a:buFont typeface="Verdana" pitchFamily="34" charset="0"/>
        <a:buChar char="»"/>
        <a:defRPr sz="2000">
          <a:solidFill>
            <a:schemeClr val="tx1"/>
          </a:solidFill>
          <a:latin typeface="+mn-lt"/>
        </a:defRPr>
      </a:lvl4pPr>
      <a:lvl5pPr marL="2100263" indent="-220663" algn="l" defTabSz="881063" rtl="0" eaLnBrk="1" fontAlgn="base" hangingPunct="1">
        <a:lnSpc>
          <a:spcPts val="2800"/>
        </a:lnSpc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2557463" indent="-220663" algn="l" defTabSz="881063" rtl="0" eaLnBrk="1" fontAlgn="base" hangingPunct="1">
        <a:lnSpc>
          <a:spcPts val="2800"/>
        </a:lnSpc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3014663" indent="-220663" algn="l" defTabSz="881063" rtl="0" eaLnBrk="1" fontAlgn="base" hangingPunct="1">
        <a:lnSpc>
          <a:spcPts val="2800"/>
        </a:lnSpc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71863" indent="-220663" algn="l" defTabSz="881063" rtl="0" eaLnBrk="1" fontAlgn="base" hangingPunct="1">
        <a:lnSpc>
          <a:spcPts val="2800"/>
        </a:lnSpc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929063" indent="-220663" algn="l" defTabSz="881063" rtl="0" eaLnBrk="1" fontAlgn="base" hangingPunct="1">
        <a:lnSpc>
          <a:spcPts val="2800"/>
        </a:lnSpc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A92B0ED6-443F-C4BD-8459-F69A720E27F2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366497" y="6493687"/>
            <a:ext cx="554639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defPPr>
              <a:defRPr lang="de-DE"/>
            </a:defPPr>
            <a:lvl1pPr algn="r" defTabSz="881063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4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4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4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4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9pPr>
          </a:lstStyle>
          <a:p>
            <a:r>
              <a:rPr lang="de-DE" sz="1000">
                <a:solidFill>
                  <a:srgbClr val="EF0000"/>
                </a:solidFill>
                <a:latin typeface="Approach Koeln" pitchFamily="2" charset="0"/>
              </a:rPr>
              <a:t>Folie </a:t>
            </a:r>
            <a:fld id="{52E4B4D7-5B28-445D-82E9-F0929806F258}" type="slidenum">
              <a:rPr lang="de-DE" sz="1000" smtClean="0">
                <a:solidFill>
                  <a:srgbClr val="EF0000"/>
                </a:solidFill>
                <a:latin typeface="Approach Koeln" pitchFamily="2" charset="0"/>
              </a:rPr>
              <a:pPr/>
              <a:t>‹Nr.›</a:t>
            </a:fld>
            <a:endParaRPr lang="de-DE" sz="1000">
              <a:solidFill>
                <a:srgbClr val="EF0000"/>
              </a:solidFill>
              <a:latin typeface="Approach Koeln" pitchFamily="2" charset="0"/>
            </a:endParaRPr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CDBD1090-5222-E94D-B01C-6AC2097AC99B}"/>
              </a:ext>
            </a:extLst>
          </p:cNvPr>
          <p:cNvSpPr txBox="1"/>
          <p:nvPr userDrawn="1"/>
        </p:nvSpPr>
        <p:spPr>
          <a:xfrm>
            <a:off x="825503" y="6339798"/>
            <a:ext cx="8191781" cy="307777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algn="l"/>
            <a:endParaRPr lang="de-DE" sz="1000" b="0" i="0">
              <a:solidFill>
                <a:srgbClr val="FF0000"/>
              </a:solidFill>
              <a:latin typeface="Approach Koeln SemiBold" pitchFamily="2" charset="0"/>
            </a:endParaRPr>
          </a:p>
          <a:p>
            <a:pPr algn="l"/>
            <a:r>
              <a:rPr lang="de-DE" sz="1000" b="0" i="0">
                <a:solidFill>
                  <a:srgbClr val="FF0000"/>
                </a:solidFill>
                <a:latin typeface="Approach Koeln SemiBold" pitchFamily="2" charset="0"/>
              </a:rPr>
              <a:t>Kölner Verkehrs-Betriebe AG</a:t>
            </a:r>
            <a:endParaRPr lang="de-DE" sz="1000" b="0" i="0">
              <a:solidFill>
                <a:srgbClr val="FF0000"/>
              </a:solidFill>
              <a:latin typeface="Approach Koeln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1021025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4" r:id="rId1"/>
    <p:sldLayoutId id="2147483716" r:id="rId2"/>
    <p:sldLayoutId id="2147483718" r:id="rId3"/>
    <p:sldLayoutId id="2147483695" r:id="rId4"/>
    <p:sldLayoutId id="2147483717" r:id="rId5"/>
    <p:sldLayoutId id="2147483705" r:id="rId6"/>
    <p:sldLayoutId id="2147483714" r:id="rId7"/>
    <p:sldLayoutId id="2147483715" r:id="rId8"/>
    <p:sldLayoutId id="2147483696" r:id="rId9"/>
    <p:sldLayoutId id="2147483709" r:id="rId10"/>
    <p:sldLayoutId id="2147483701" r:id="rId11"/>
    <p:sldLayoutId id="2147483702" r:id="rId12"/>
    <p:sldLayoutId id="2147483703" r:id="rId13"/>
    <p:sldLayoutId id="2147483706" r:id="rId14"/>
    <p:sldLayoutId id="2147483722" r:id="rId15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529" userDrawn="1">
          <p15:clr>
            <a:srgbClr val="F26B43"/>
          </p15:clr>
        </p15:guide>
        <p15:guide id="2" orient="horz" pos="527" userDrawn="1">
          <p15:clr>
            <a:srgbClr val="F26B43"/>
          </p15:clr>
        </p15:guide>
        <p15:guide id="3" orient="horz" pos="1185" userDrawn="1">
          <p15:clr>
            <a:srgbClr val="F26B43"/>
          </p15:clr>
        </p15:guide>
        <p15:guide id="4" orient="horz" pos="731" userDrawn="1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82E0E628-91AE-3CBB-8ECF-02CA7E51265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9" name="think-cell Folie" r:id="rId13" imgW="484" imgH="484" progId="TCLayout.ActiveDocument.1">
                  <p:embed/>
                </p:oleObj>
              </mc:Choice>
              <mc:Fallback>
                <p:oleObj name="think-cell Folie" r:id="rId13" imgW="484" imgH="484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2E0E628-91AE-3CBB-8ECF-02CA7E51265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Fußzeilenplatzhalter 4">
            <a:extLst>
              <a:ext uri="{FF2B5EF4-FFF2-40B4-BE49-F238E27FC236}">
                <a16:creationId xmlns:a16="http://schemas.microsoft.com/office/drawing/2014/main" id="{545FC761-8C2B-A441-A958-70EDF222E30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58800" y="6343200"/>
            <a:ext cx="6181200" cy="1836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>
              <a:defRPr lang="de-DE" sz="1200" smtClean="0">
                <a:solidFill>
                  <a:schemeClr val="bg1"/>
                </a:solidFill>
              </a:defRPr>
            </a:lvl1pPr>
          </a:lstStyle>
          <a:p>
            <a:r>
              <a:rPr lang="pt-BR"/>
              <a:t>ESK | AR | 16. April 2024 </a:t>
            </a:r>
            <a:endParaRPr lang="de-DE"/>
          </a:p>
        </p:txBody>
      </p:sp>
      <p:sp>
        <p:nvSpPr>
          <p:cNvPr id="3" name="Titelplatzhalter 2">
            <a:extLst>
              <a:ext uri="{FF2B5EF4-FFF2-40B4-BE49-F238E27FC236}">
                <a16:creationId xmlns:a16="http://schemas.microsoft.com/office/drawing/2014/main" id="{425A0E74-5CE8-76A1-BA51-6EB5D0597C3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6884" y="148769"/>
            <a:ext cx="9899316" cy="831959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/>
          <a:p>
            <a:pPr marL="0" lvl="0" indent="0">
              <a:lnSpc>
                <a:spcPts val="3250"/>
              </a:lnSpc>
              <a:spcBef>
                <a:spcPts val="0"/>
              </a:spcBef>
              <a:buFont typeface="Arial" panose="020B0604020202020204" pitchFamily="34" charset="0"/>
            </a:pPr>
            <a:r>
              <a:rPr lang="de-DE"/>
              <a:t>Mastertitelformat bearbeiten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F71CAA4-FE89-90BE-C2CC-85D6222C82A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36884" y="1449388"/>
            <a:ext cx="9899316" cy="4325769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de-DE"/>
              <a:t>Fließtext</a:t>
            </a:r>
          </a:p>
          <a:p>
            <a:pPr lvl="1"/>
            <a:r>
              <a:rPr lang="de-DE"/>
              <a:t>Erste Ebene</a:t>
            </a:r>
          </a:p>
          <a:p>
            <a:pPr lvl="2"/>
            <a:r>
              <a:rPr lang="de-DE"/>
              <a:t>Zweite Ebene</a:t>
            </a:r>
          </a:p>
          <a:p>
            <a:pPr lvl="3"/>
            <a:r>
              <a:rPr lang="de-DE"/>
              <a:t>Dritte Ebene</a:t>
            </a:r>
          </a:p>
          <a:p>
            <a:pPr lvl="4"/>
            <a:r>
              <a:rPr lang="de-DE"/>
              <a:t>Vierte Ebene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D0A1B56-59EB-F8A0-60F3-B6F7E023B11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32000" y="6343200"/>
            <a:ext cx="872664" cy="184666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>
            <a:lvl1pPr>
              <a:defRPr lang="de-DE" sz="1200" smtClean="0">
                <a:solidFill>
                  <a:schemeClr val="bg1"/>
                </a:solidFill>
              </a:defRPr>
            </a:lvl1pPr>
          </a:lstStyle>
          <a:p>
            <a:fld id="{0B209542-CF8F-4CEE-921E-77928553DA4F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504062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4" r:id="rId1"/>
    <p:sldLayoutId id="2147483725" r:id="rId2"/>
    <p:sldLayoutId id="2147483726" r:id="rId3"/>
    <p:sldLayoutId id="2147483727" r:id="rId4"/>
    <p:sldLayoutId id="2147483728" r:id="rId5"/>
    <p:sldLayoutId id="2147483729" r:id="rId6"/>
    <p:sldLayoutId id="2147483730" r:id="rId7"/>
    <p:sldLayoutId id="2147483731" r:id="rId8"/>
    <p:sldLayoutId id="2147483732" r:id="rId9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lang="de-DE" sz="2700" b="1" kern="1200" smtClean="0">
          <a:solidFill>
            <a:schemeClr val="tx1"/>
          </a:solidFill>
          <a:effectLst/>
          <a:latin typeface="Calibri" panose="020F0502020204030204" pitchFamily="34" charset="0"/>
          <a:ea typeface="+mn-ea"/>
          <a:cs typeface="+mn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180000" indent="-180000" algn="l" defTabSz="914400" rtl="0" eaLnBrk="1" latinLnBrk="0" hangingPunct="1">
        <a:lnSpc>
          <a:spcPct val="100000"/>
        </a:lnSpc>
        <a:spcBef>
          <a:spcPts val="600"/>
        </a:spcBef>
        <a:buClr>
          <a:schemeClr val="accent6"/>
        </a:buClr>
        <a:buSzPct val="70000"/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360000" indent="-180000" algn="l" defTabSz="914400" rtl="0" eaLnBrk="1" latinLnBrk="0" hangingPunct="1">
        <a:lnSpc>
          <a:spcPct val="100000"/>
        </a:lnSpc>
        <a:spcBef>
          <a:spcPts val="600"/>
        </a:spcBef>
        <a:buClr>
          <a:schemeClr val="accent6"/>
        </a:buClr>
        <a:buSzPct val="70000"/>
        <a:buFont typeface="Symbol" panose="05050102010706020507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40000" indent="-180000" algn="l" defTabSz="914400" rtl="0" eaLnBrk="1" latinLnBrk="0" hangingPunct="1">
        <a:lnSpc>
          <a:spcPct val="100000"/>
        </a:lnSpc>
        <a:spcBef>
          <a:spcPts val="600"/>
        </a:spcBef>
        <a:buClr>
          <a:schemeClr val="accent6"/>
        </a:buClr>
        <a:buSzPct val="70000"/>
        <a:buFont typeface="Symbol" panose="05050102010706020507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180000" algn="l" defTabSz="914400" rtl="0" eaLnBrk="1" latinLnBrk="0" hangingPunct="1">
        <a:lnSpc>
          <a:spcPct val="100000"/>
        </a:lnSpc>
        <a:spcBef>
          <a:spcPts val="600"/>
        </a:spcBef>
        <a:buClr>
          <a:schemeClr val="accent6"/>
        </a:buClr>
        <a:buSzPct val="70000"/>
        <a:buFont typeface="Symbol" panose="05050102010706020507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3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png"/><Relationship Id="rId3" Type="http://schemas.openxmlformats.org/officeDocument/2006/relationships/slideLayout" Target="../slideLayouts/slideLayout25.xml"/><Relationship Id="rId7" Type="http://schemas.openxmlformats.org/officeDocument/2006/relationships/image" Target="../media/image26.png"/><Relationship Id="rId2" Type="http://schemas.openxmlformats.org/officeDocument/2006/relationships/tags" Target="../tags/tag7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25.jpeg"/><Relationship Id="rId5" Type="http://schemas.openxmlformats.org/officeDocument/2006/relationships/image" Target="../media/image24.emf"/><Relationship Id="rId10" Type="http://schemas.openxmlformats.org/officeDocument/2006/relationships/image" Target="../media/image29.png"/><Relationship Id="rId4" Type="http://schemas.openxmlformats.org/officeDocument/2006/relationships/oleObject" Target="../embeddings/oleObject7.bin"/><Relationship Id="rId9" Type="http://schemas.openxmlformats.org/officeDocument/2006/relationships/image" Target="../media/image28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5.xml"/><Relationship Id="rId7" Type="http://schemas.openxmlformats.org/officeDocument/2006/relationships/image" Target="../media/image31.png"/><Relationship Id="rId2" Type="http://schemas.openxmlformats.org/officeDocument/2006/relationships/tags" Target="../tags/tag8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30.png"/><Relationship Id="rId5" Type="http://schemas.openxmlformats.org/officeDocument/2006/relationships/image" Target="../media/image24.emf"/><Relationship Id="rId4" Type="http://schemas.openxmlformats.org/officeDocument/2006/relationships/oleObject" Target="../embeddings/oleObject7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5.xml"/><Relationship Id="rId7" Type="http://schemas.openxmlformats.org/officeDocument/2006/relationships/image" Target="../media/image33.png"/><Relationship Id="rId2" Type="http://schemas.openxmlformats.org/officeDocument/2006/relationships/tags" Target="../tags/tag9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32.png"/><Relationship Id="rId5" Type="http://schemas.openxmlformats.org/officeDocument/2006/relationships/image" Target="../media/image24.emf"/><Relationship Id="rId4" Type="http://schemas.openxmlformats.org/officeDocument/2006/relationships/oleObject" Target="../embeddings/oleObject7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5.xml"/><Relationship Id="rId7" Type="http://schemas.openxmlformats.org/officeDocument/2006/relationships/image" Target="../media/image35.png"/><Relationship Id="rId2" Type="http://schemas.openxmlformats.org/officeDocument/2006/relationships/tags" Target="../tags/tag10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34.png"/><Relationship Id="rId5" Type="http://schemas.openxmlformats.org/officeDocument/2006/relationships/image" Target="../media/image24.emf"/><Relationship Id="rId4" Type="http://schemas.openxmlformats.org/officeDocument/2006/relationships/oleObject" Target="../embeddings/oleObject7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5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36.jpeg"/><Relationship Id="rId5" Type="http://schemas.openxmlformats.org/officeDocument/2006/relationships/image" Target="../media/image24.emf"/><Relationship Id="rId4" Type="http://schemas.openxmlformats.org/officeDocument/2006/relationships/oleObject" Target="../embeddings/oleObject7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/>
          <p:cNvSpPr/>
          <p:nvPr/>
        </p:nvSpPr>
        <p:spPr>
          <a:xfrm>
            <a:off x="5401733" y="2650064"/>
            <a:ext cx="1524000" cy="550335"/>
          </a:xfrm>
          <a:prstGeom prst="rect">
            <a:avLst/>
          </a:prstGeom>
          <a:solidFill>
            <a:srgbClr val="F7E6A7"/>
          </a:solidFill>
          <a:ln>
            <a:solidFill>
              <a:srgbClr val="F7E6A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000" b="1" dirty="0" smtClean="0">
                <a:solidFill>
                  <a:schemeClr val="bg1"/>
                </a:solidFill>
              </a:rPr>
              <a:t>Innenstadt-Tunnel</a:t>
            </a:r>
            <a:endParaRPr lang="de-DE" sz="20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7451071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09A0AB6-5043-1D85-1771-6C18D64B1CE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F143F2D0-DB8B-819F-24B9-5780ACDC835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21" name="think-cell Folie" r:id="rId4" imgW="347" imgH="348" progId="TCLayout.ActiveDocument.1">
                  <p:embed/>
                </p:oleObj>
              </mc:Choice>
              <mc:Fallback>
                <p:oleObj name="think-cell Folie" r:id="rId4" imgW="347" imgH="348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143F2D0-DB8B-819F-24B9-5780ACDC835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el 4">
            <a:extLst>
              <a:ext uri="{FF2B5EF4-FFF2-40B4-BE49-F238E27FC236}">
                <a16:creationId xmlns:a16="http://schemas.microsoft.com/office/drawing/2014/main" id="{F4D00E0A-A8B6-2361-72CC-17CE6927E45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98332" y="2273902"/>
            <a:ext cx="6732983" cy="831959"/>
          </a:xfrm>
        </p:spPr>
        <p:txBody>
          <a:bodyPr vert="horz"/>
          <a:lstStyle/>
          <a:p>
            <a:endParaRPr lang="de-DE" dirty="0"/>
          </a:p>
        </p:txBody>
      </p:sp>
      <p:sp>
        <p:nvSpPr>
          <p:cNvPr id="16" name="Fußzeilenplatzhalter 15">
            <a:extLst>
              <a:ext uri="{FF2B5EF4-FFF2-40B4-BE49-F238E27FC236}">
                <a16:creationId xmlns:a16="http://schemas.microsoft.com/office/drawing/2014/main" id="{62E409CF-2A74-A48F-C6FB-B7A68FD8EC3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WA Abschnitt Ost  </a:t>
            </a:r>
            <a:r>
              <a:rPr kumimoji="0" lang="pt-BR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| </a:t>
            </a:r>
            <a:r>
              <a:rPr kumimoji="0" lang="pt-BR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ai </a:t>
            </a:r>
            <a:r>
              <a:rPr kumimoji="0" lang="pt-BR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024 </a:t>
            </a:r>
          </a:p>
        </p:txBody>
      </p:sp>
      <p:sp>
        <p:nvSpPr>
          <p:cNvPr id="17" name="Foliennummernplatzhalter 16">
            <a:extLst>
              <a:ext uri="{FF2B5EF4-FFF2-40B4-BE49-F238E27FC236}">
                <a16:creationId xmlns:a16="http://schemas.microsoft.com/office/drawing/2014/main" id="{48F104CA-EDDF-81D0-2BF1-2F04EC65B5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B209542-CF8F-4CEE-921E-77928553DA4F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Titel 4">
            <a:extLst>
              <a:ext uri="{FF2B5EF4-FFF2-40B4-BE49-F238E27FC236}">
                <a16:creationId xmlns:a16="http://schemas.microsoft.com/office/drawing/2014/main" id="{D1E052F0-3A7C-9E0E-7D85-36D230E6C421}"/>
              </a:ext>
            </a:extLst>
          </p:cNvPr>
          <p:cNvSpPr txBox="1">
            <a:spLocks/>
          </p:cNvSpPr>
          <p:nvPr/>
        </p:nvSpPr>
        <p:spPr>
          <a:xfrm>
            <a:off x="749688" y="760895"/>
            <a:ext cx="10803565" cy="392845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i="0" kern="1200">
                <a:solidFill>
                  <a:srgbClr val="238A8D"/>
                </a:solidFill>
                <a:latin typeface="Approach Koeln SemiBold" pitchFamily="2" charset="0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800" b="1" i="0" u="none" strike="noStrike" kern="1200" cap="none" spc="0" normalizeH="0" baseline="0" noProof="0" smtClean="0">
                <a:ln>
                  <a:noFill/>
                </a:ln>
                <a:solidFill>
                  <a:srgbClr val="238A8D"/>
                </a:solidFill>
                <a:effectLst/>
                <a:uLnTx/>
                <a:uFillTx/>
                <a:latin typeface="Approach Koeln SemiBold" pitchFamily="2" charset="0"/>
                <a:ea typeface="+mj-ea"/>
                <a:cs typeface="+mj-cs"/>
              </a:rPr>
              <a:t>Rechtsrheinischer Abschnitt des Ausbaus</a:t>
            </a:r>
            <a:endParaRPr kumimoji="0" lang="de-DE" sz="2800" b="1" i="0" u="none" strike="noStrike" kern="1200" cap="none" spc="0" normalizeH="0" baseline="0" noProof="0" dirty="0">
              <a:ln>
                <a:noFill/>
              </a:ln>
              <a:solidFill>
                <a:srgbClr val="238A8D"/>
              </a:solidFill>
              <a:effectLst/>
              <a:uLnTx/>
              <a:uFillTx/>
              <a:latin typeface="Approach Koeln SemiBold" pitchFamily="2" charset="0"/>
              <a:ea typeface="+mj-ea"/>
              <a:cs typeface="+mj-cs"/>
            </a:endParaRPr>
          </a:p>
        </p:txBody>
      </p:sp>
      <p:pic>
        <p:nvPicPr>
          <p:cNvPr id="9" name="Grafik 8" descr="Ein Bild, das Text, Karte, Atlas enthält.&#10;&#10;Automatisch generierte Beschreibung">
            <a:extLst>
              <a:ext uri="{FF2B5EF4-FFF2-40B4-BE49-F238E27FC236}">
                <a16:creationId xmlns:a16="http://schemas.microsoft.com/office/drawing/2014/main" id="{F85B3DD1-D210-DAEB-F3AD-9E6FD512CB3E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9794" t="-1417" r="7580" b="45316"/>
          <a:stretch/>
        </p:blipFill>
        <p:spPr>
          <a:xfrm>
            <a:off x="2177867" y="2543788"/>
            <a:ext cx="7292100" cy="3364469"/>
          </a:xfrm>
          <a:prstGeom prst="rect">
            <a:avLst/>
          </a:prstGeom>
        </p:spPr>
      </p:pic>
      <p:pic>
        <p:nvPicPr>
          <p:cNvPr id="10" name="Grafik 9"/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722" r="20059"/>
          <a:stretch/>
        </p:blipFill>
        <p:spPr>
          <a:xfrm>
            <a:off x="432000" y="1873821"/>
            <a:ext cx="2390775" cy="1804572"/>
          </a:xfrm>
          <a:prstGeom prst="rect">
            <a:avLst/>
          </a:prstGeom>
        </p:spPr>
      </p:pic>
      <p:pic>
        <p:nvPicPr>
          <p:cNvPr id="11" name="Grafik 10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62901" y="1374664"/>
            <a:ext cx="2688569" cy="1798476"/>
          </a:xfrm>
          <a:prstGeom prst="rect">
            <a:avLst/>
          </a:prstGeom>
        </p:spPr>
      </p:pic>
      <p:pic>
        <p:nvPicPr>
          <p:cNvPr id="12" name="Grafik 11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51074" y="977631"/>
            <a:ext cx="2688569" cy="1798476"/>
          </a:xfrm>
          <a:prstGeom prst="rect">
            <a:avLst/>
          </a:prstGeom>
        </p:spPr>
      </p:pic>
      <p:pic>
        <p:nvPicPr>
          <p:cNvPr id="13" name="Grafik 12"/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51221" y="4109781"/>
            <a:ext cx="2402032" cy="17984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4922048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09A0AB6-5043-1D85-1771-6C18D64B1CE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F143F2D0-DB8B-819F-24B9-5780ACDC835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5" name="think-cell Folie" r:id="rId4" imgW="347" imgH="348" progId="TCLayout.ActiveDocument.1">
                  <p:embed/>
                </p:oleObj>
              </mc:Choice>
              <mc:Fallback>
                <p:oleObj name="think-cell Folie" r:id="rId4" imgW="347" imgH="348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143F2D0-DB8B-819F-24B9-5780ACDC835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Fußzeilenplatzhalter 15">
            <a:extLst>
              <a:ext uri="{FF2B5EF4-FFF2-40B4-BE49-F238E27FC236}">
                <a16:creationId xmlns:a16="http://schemas.microsoft.com/office/drawing/2014/main" id="{62E409CF-2A74-A48F-C6FB-B7A68FD8EC3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WA Abschnitt Ost  </a:t>
            </a:r>
            <a:r>
              <a:rPr kumimoji="0" lang="pt-BR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| </a:t>
            </a:r>
            <a:r>
              <a:rPr kumimoji="0" lang="pt-BR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ai </a:t>
            </a:r>
            <a:r>
              <a:rPr kumimoji="0" lang="pt-BR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024 </a:t>
            </a:r>
          </a:p>
        </p:txBody>
      </p:sp>
      <p:sp>
        <p:nvSpPr>
          <p:cNvPr id="17" name="Foliennummernplatzhalter 16">
            <a:extLst>
              <a:ext uri="{FF2B5EF4-FFF2-40B4-BE49-F238E27FC236}">
                <a16:creationId xmlns:a16="http://schemas.microsoft.com/office/drawing/2014/main" id="{48F104CA-EDDF-81D0-2BF1-2F04EC65B5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B209542-CF8F-4CEE-921E-77928553DA4F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62FFFCC7-FD57-7085-3C7B-2BEA2A586413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62" t="5628" r="10946" b="25698"/>
          <a:stretch/>
        </p:blipFill>
        <p:spPr>
          <a:xfrm>
            <a:off x="257159" y="1627547"/>
            <a:ext cx="7712803" cy="4369102"/>
          </a:xfrm>
          <a:prstGeom prst="rect">
            <a:avLst/>
          </a:prstGeom>
        </p:spPr>
      </p:pic>
      <p:pic>
        <p:nvPicPr>
          <p:cNvPr id="8" name="Grafik 7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57159" y="1252223"/>
            <a:ext cx="3600000" cy="2043357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9" name="Titel 7">
            <a:extLst>
              <a:ext uri="{FF2B5EF4-FFF2-40B4-BE49-F238E27FC236}">
                <a16:creationId xmlns:a16="http://schemas.microsoft.com/office/drawing/2014/main" id="{6319B648-FCC6-E749-5BDF-FA6A5B102CA8}"/>
              </a:ext>
            </a:extLst>
          </p:cNvPr>
          <p:cNvSpPr txBox="1">
            <a:spLocks/>
          </p:cNvSpPr>
          <p:nvPr/>
        </p:nvSpPr>
        <p:spPr>
          <a:xfrm>
            <a:off x="257159" y="536200"/>
            <a:ext cx="10803565" cy="392845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i="0" kern="1200">
                <a:solidFill>
                  <a:srgbClr val="238A8D"/>
                </a:solidFill>
                <a:latin typeface="Approach Koeln SemiBold" pitchFamily="2" charset="0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800" b="1" i="0" u="none" strike="noStrike" kern="1200" cap="none" spc="0" normalizeH="0" baseline="0" noProof="0" smtClean="0">
                <a:ln>
                  <a:noFill/>
                </a:ln>
                <a:solidFill>
                  <a:srgbClr val="238A8D"/>
                </a:solidFill>
                <a:effectLst/>
                <a:uLnTx/>
                <a:uFillTx/>
                <a:latin typeface="Approach Koeln SemiBold" pitchFamily="2" charset="0"/>
                <a:ea typeface="+mj-ea"/>
                <a:cs typeface="+mj-cs"/>
              </a:rPr>
              <a:t>Neuenweg</a:t>
            </a:r>
            <a:endParaRPr kumimoji="0" lang="de-DE" sz="2800" b="1" i="0" u="none" strike="noStrike" kern="1200" cap="none" spc="0" normalizeH="0" baseline="0" noProof="0" dirty="0">
              <a:ln>
                <a:noFill/>
              </a:ln>
              <a:solidFill>
                <a:srgbClr val="238A8D"/>
              </a:solidFill>
              <a:effectLst/>
              <a:uLnTx/>
              <a:uFillTx/>
              <a:latin typeface="Approach Koeln SemiBold" pitchFamily="2" charset="0"/>
              <a:ea typeface="+mj-ea"/>
              <a:cs typeface="+mj-cs"/>
            </a:endParaRPr>
          </a:p>
        </p:txBody>
      </p:sp>
      <p:sp>
        <p:nvSpPr>
          <p:cNvPr id="11" name="Gefaltete Ecke 16">
            <a:extLst>
              <a:ext uri="{FF2B5EF4-FFF2-40B4-BE49-F238E27FC236}">
                <a16:creationId xmlns:a16="http://schemas.microsoft.com/office/drawing/2014/main" id="{28124179-FFCF-F786-4BF8-560E22282319}"/>
              </a:ext>
            </a:extLst>
          </p:cNvPr>
          <p:cNvSpPr/>
          <p:nvPr/>
        </p:nvSpPr>
        <p:spPr>
          <a:xfrm>
            <a:off x="8156620" y="667412"/>
            <a:ext cx="3739486" cy="5329237"/>
          </a:xfrm>
          <a:prstGeom prst="foldedCorner">
            <a:avLst>
              <a:gd name="adj" fmla="val 14325"/>
            </a:avLst>
          </a:prstGeom>
          <a:solidFill>
            <a:srgbClr val="A8D6EE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t"/>
          <a:lstStyle/>
          <a:p>
            <a:pPr marL="0" lvl="1" fontAlgn="auto">
              <a:spcBef>
                <a:spcPts val="0"/>
              </a:spcBef>
              <a:spcAft>
                <a:spcPts val="600"/>
              </a:spcAft>
            </a:pPr>
            <a:r>
              <a:rPr lang="de-DE" sz="1300" b="1" dirty="0">
                <a:solidFill>
                  <a:schemeClr val="tx1"/>
                </a:solidFill>
                <a:latin typeface="Approach Koeln"/>
              </a:rPr>
              <a:t>Was ändert sich?</a:t>
            </a:r>
          </a:p>
          <a:p>
            <a:pPr marL="0" lvl="1" fontAlgn="auto">
              <a:spcBef>
                <a:spcPts val="0"/>
              </a:spcBef>
              <a:spcAft>
                <a:spcPts val="600"/>
              </a:spcAft>
            </a:pPr>
            <a:r>
              <a:rPr lang="de-DE" sz="1300" b="1" dirty="0">
                <a:solidFill>
                  <a:schemeClr val="tx1"/>
                </a:solidFill>
                <a:latin typeface="Approach Koeln"/>
              </a:rPr>
              <a:t>Beide</a:t>
            </a:r>
            <a:r>
              <a:rPr lang="de-DE" sz="1300" dirty="0">
                <a:solidFill>
                  <a:schemeClr val="tx1"/>
                </a:solidFill>
                <a:latin typeface="Approach Koeln"/>
              </a:rPr>
              <a:t> Bahnsteige werden um circa 20 Meter verlängert. Der Bahnsteig in Fahrtrichtung Bensberg wird in Richtung Westen (Deutz) verlängert, der Bahnsteig in Fahrtrichtung Deutz in Richtung Osten (Bensberg).</a:t>
            </a:r>
          </a:p>
          <a:p>
            <a:pPr marL="0" lvl="1">
              <a:spcBef>
                <a:spcPts val="0"/>
              </a:spcBef>
              <a:spcAft>
                <a:spcPts val="600"/>
              </a:spcAft>
            </a:pPr>
            <a:r>
              <a:rPr lang="de-DE" sz="1300" b="1" dirty="0">
                <a:solidFill>
                  <a:schemeClr val="tx1"/>
                </a:solidFill>
                <a:latin typeface="Approach Koeln"/>
              </a:rPr>
              <a:t>Jeder </a:t>
            </a:r>
            <a:r>
              <a:rPr lang="de-DE" sz="1300" dirty="0">
                <a:solidFill>
                  <a:schemeClr val="tx1"/>
                </a:solidFill>
                <a:latin typeface="Approach Koeln"/>
              </a:rPr>
              <a:t>Bahnsteig wird mit einem zusätzlichen, neuen digitalen Fahrgastinformationsanzeiger (DFI) ausgestattet.</a:t>
            </a:r>
          </a:p>
          <a:p>
            <a:pPr marL="0" lvl="1">
              <a:spcBef>
                <a:spcPts val="0"/>
              </a:spcBef>
              <a:spcAft>
                <a:spcPts val="600"/>
              </a:spcAft>
            </a:pPr>
            <a:r>
              <a:rPr lang="de-DE" sz="1300" b="1" dirty="0">
                <a:solidFill>
                  <a:schemeClr val="tx1"/>
                </a:solidFill>
                <a:latin typeface="Approach Koeln"/>
              </a:rPr>
              <a:t>Im </a:t>
            </a:r>
            <a:r>
              <a:rPr lang="de-DE" sz="1300" dirty="0">
                <a:solidFill>
                  <a:schemeClr val="tx1"/>
                </a:solidFill>
                <a:latin typeface="Approach Koeln"/>
              </a:rPr>
              <a:t>Bereich der Bahnsteigverlängerung werden zusätzliche LED-Lampen aufgestellt. Alle Leuchtenköpfe auf den Bestandsbahnsteigen werden ausgetauscht und durch neue ersetzt. </a:t>
            </a:r>
          </a:p>
          <a:p>
            <a:pPr marL="0" lvl="1">
              <a:spcBef>
                <a:spcPts val="0"/>
              </a:spcBef>
              <a:spcAft>
                <a:spcPts val="600"/>
              </a:spcAft>
            </a:pPr>
            <a:r>
              <a:rPr lang="de-DE" sz="1300" b="1" dirty="0">
                <a:solidFill>
                  <a:schemeClr val="tx1"/>
                </a:solidFill>
                <a:latin typeface="Approach Koeln"/>
              </a:rPr>
              <a:t>Die </a:t>
            </a:r>
            <a:r>
              <a:rPr lang="de-DE" sz="1300" dirty="0">
                <a:solidFill>
                  <a:schemeClr val="tx1"/>
                </a:solidFill>
                <a:latin typeface="Approach Koeln"/>
              </a:rPr>
              <a:t>Haltestelle wird mit einem Blindenleitsystem ausgestattet. </a:t>
            </a:r>
          </a:p>
          <a:p>
            <a:pPr marL="0" lvl="1">
              <a:spcBef>
                <a:spcPts val="0"/>
              </a:spcBef>
              <a:spcAft>
                <a:spcPts val="600"/>
              </a:spcAft>
            </a:pPr>
            <a:r>
              <a:rPr lang="de-DE" sz="1300" b="1" dirty="0">
                <a:solidFill>
                  <a:schemeClr val="tx1"/>
                </a:solidFill>
                <a:latin typeface="Approach Koeln"/>
              </a:rPr>
              <a:t>An </a:t>
            </a:r>
            <a:r>
              <a:rPr lang="de-DE" sz="1300" dirty="0">
                <a:solidFill>
                  <a:schemeClr val="tx1"/>
                </a:solidFill>
                <a:latin typeface="Approach Koeln"/>
              </a:rPr>
              <a:t>der Haltestelle wird ein neues Unterwerk für die Bahnstromversorgung gebaut.</a:t>
            </a:r>
          </a:p>
          <a:p>
            <a:pPr marL="0" lvl="1">
              <a:spcBef>
                <a:spcPts val="0"/>
              </a:spcBef>
              <a:spcAft>
                <a:spcPts val="600"/>
              </a:spcAft>
            </a:pPr>
            <a:r>
              <a:rPr lang="de-DE" sz="1300" b="1" dirty="0">
                <a:solidFill>
                  <a:schemeClr val="tx1"/>
                </a:solidFill>
                <a:latin typeface="Approach Koeln"/>
              </a:rPr>
              <a:t>Im</a:t>
            </a:r>
            <a:r>
              <a:rPr lang="de-DE" sz="1300" dirty="0">
                <a:solidFill>
                  <a:schemeClr val="tx1"/>
                </a:solidFill>
                <a:latin typeface="Approach Koeln"/>
              </a:rPr>
              <a:t> Bereich des Kiosks wird eine Mobilstation mit Carsharing-Plätzen und Fahrradabstellanlagen eingerichtet.</a:t>
            </a:r>
          </a:p>
        </p:txBody>
      </p:sp>
    </p:spTree>
    <p:extLst>
      <p:ext uri="{BB962C8B-B14F-4D97-AF65-F5344CB8AC3E}">
        <p14:creationId xmlns:p14="http://schemas.microsoft.com/office/powerpoint/2010/main" val="101660958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09A0AB6-5043-1D85-1771-6C18D64B1CE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F143F2D0-DB8B-819F-24B9-5780ACDC835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9" name="think-cell Folie" r:id="rId4" imgW="347" imgH="348" progId="TCLayout.ActiveDocument.1">
                  <p:embed/>
                </p:oleObj>
              </mc:Choice>
              <mc:Fallback>
                <p:oleObj name="think-cell Folie" r:id="rId4" imgW="347" imgH="348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143F2D0-DB8B-819F-24B9-5780ACDC835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Fußzeilenplatzhalter 15">
            <a:extLst>
              <a:ext uri="{FF2B5EF4-FFF2-40B4-BE49-F238E27FC236}">
                <a16:creationId xmlns:a16="http://schemas.microsoft.com/office/drawing/2014/main" id="{62E409CF-2A74-A48F-C6FB-B7A68FD8EC3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WA Abschnitt Ost  </a:t>
            </a:r>
            <a:r>
              <a:rPr kumimoji="0" lang="pt-BR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| </a:t>
            </a:r>
            <a:r>
              <a:rPr kumimoji="0" lang="pt-BR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ai </a:t>
            </a:r>
            <a:r>
              <a:rPr kumimoji="0" lang="pt-BR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024 </a:t>
            </a:r>
          </a:p>
        </p:txBody>
      </p:sp>
      <p:sp>
        <p:nvSpPr>
          <p:cNvPr id="17" name="Foliennummernplatzhalter 16">
            <a:extLst>
              <a:ext uri="{FF2B5EF4-FFF2-40B4-BE49-F238E27FC236}">
                <a16:creationId xmlns:a16="http://schemas.microsoft.com/office/drawing/2014/main" id="{48F104CA-EDDF-81D0-2BF1-2F04EC65B5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B209542-CF8F-4CEE-921E-77928553DA4F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8" name="Grafik 7" descr="Ein Bild, das Karte, Transportkorridor, Reihe, Kreuzung enthält.&#10;&#10;Automatisch generierte Beschreibung">
            <a:extLst>
              <a:ext uri="{FF2B5EF4-FFF2-40B4-BE49-F238E27FC236}">
                <a16:creationId xmlns:a16="http://schemas.microsoft.com/office/drawing/2014/main" id="{8F469D4B-FE7F-E19D-E4FD-B70E4F64DE83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689" t="4700" r="16347" b="20234"/>
          <a:stretch/>
        </p:blipFill>
        <p:spPr>
          <a:xfrm>
            <a:off x="540279" y="1464838"/>
            <a:ext cx="6732587" cy="4540146"/>
          </a:xfrm>
          <a:prstGeom prst="rect">
            <a:avLst/>
          </a:prstGeom>
        </p:spPr>
      </p:pic>
      <p:pic>
        <p:nvPicPr>
          <p:cNvPr id="9" name="Grafik 8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2999" y="1238488"/>
            <a:ext cx="3600000" cy="2054737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12" name="Titel 3">
            <a:extLst>
              <a:ext uri="{FF2B5EF4-FFF2-40B4-BE49-F238E27FC236}">
                <a16:creationId xmlns:a16="http://schemas.microsoft.com/office/drawing/2014/main" id="{1025237C-930E-5212-8F83-17D3B215AA3D}"/>
              </a:ext>
            </a:extLst>
          </p:cNvPr>
          <p:cNvSpPr txBox="1">
            <a:spLocks/>
          </p:cNvSpPr>
          <p:nvPr/>
        </p:nvSpPr>
        <p:spPr>
          <a:xfrm>
            <a:off x="540279" y="536046"/>
            <a:ext cx="5109936" cy="392845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i="0" kern="1200">
                <a:solidFill>
                  <a:srgbClr val="238A8D"/>
                </a:solidFill>
                <a:latin typeface="Approach Koeln SemiBold" pitchFamily="2" charset="0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800" b="1" i="0" u="none" strike="noStrike" kern="1200" cap="none" spc="0" normalizeH="0" baseline="0" noProof="0" smtClean="0">
                <a:ln>
                  <a:noFill/>
                </a:ln>
                <a:solidFill>
                  <a:srgbClr val="238A8D"/>
                </a:solidFill>
                <a:effectLst/>
                <a:uLnTx/>
                <a:uFillTx/>
                <a:latin typeface="Approach Koeln SemiBold" pitchFamily="2" charset="0"/>
                <a:ea typeface="+mj-ea"/>
                <a:cs typeface="+mj-cs"/>
              </a:rPr>
              <a:t>Brück Mauspfad</a:t>
            </a:r>
            <a:endParaRPr kumimoji="0" lang="de-DE" sz="2800" b="1" i="0" u="none" strike="noStrike" kern="1200" cap="none" spc="0" normalizeH="0" baseline="0" noProof="0" dirty="0">
              <a:ln>
                <a:noFill/>
              </a:ln>
              <a:solidFill>
                <a:srgbClr val="238A8D"/>
              </a:solidFill>
              <a:effectLst/>
              <a:uLnTx/>
              <a:uFillTx/>
              <a:latin typeface="Approach Koeln SemiBold" pitchFamily="2" charset="0"/>
              <a:ea typeface="+mj-ea"/>
              <a:cs typeface="+mj-cs"/>
            </a:endParaRPr>
          </a:p>
        </p:txBody>
      </p:sp>
      <p:sp>
        <p:nvSpPr>
          <p:cNvPr id="13" name="Gefaltete Ecke 16">
            <a:extLst>
              <a:ext uri="{FF2B5EF4-FFF2-40B4-BE49-F238E27FC236}">
                <a16:creationId xmlns:a16="http://schemas.microsoft.com/office/drawing/2014/main" id="{B753A63E-DFBD-09B8-9C7F-D6276ED8ECB5}"/>
              </a:ext>
            </a:extLst>
          </p:cNvPr>
          <p:cNvSpPr/>
          <p:nvPr/>
        </p:nvSpPr>
        <p:spPr>
          <a:xfrm>
            <a:off x="7688619" y="675747"/>
            <a:ext cx="3739486" cy="5329237"/>
          </a:xfrm>
          <a:prstGeom prst="foldedCorner">
            <a:avLst>
              <a:gd name="adj" fmla="val 11497"/>
            </a:avLst>
          </a:prstGeom>
          <a:solidFill>
            <a:srgbClr val="A8D6EE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t"/>
          <a:lstStyle/>
          <a:p>
            <a:pPr marL="0" lvl="1">
              <a:spcAft>
                <a:spcPts val="600"/>
              </a:spcAft>
            </a:pPr>
            <a:r>
              <a:rPr lang="de-DE" sz="1300" b="1" dirty="0">
                <a:solidFill>
                  <a:schemeClr val="tx1"/>
                </a:solidFill>
                <a:latin typeface="Approach Koeln SemiBold" pitchFamily="2" charset="0"/>
              </a:rPr>
              <a:t>Was ändert sich?</a:t>
            </a:r>
          </a:p>
          <a:p>
            <a:pPr marL="0" lvl="1">
              <a:spcAft>
                <a:spcPts val="600"/>
              </a:spcAft>
            </a:pPr>
            <a:r>
              <a:rPr lang="de-DE" sz="1300" b="1" dirty="0">
                <a:solidFill>
                  <a:schemeClr val="tx1"/>
                </a:solidFill>
                <a:latin typeface="Approach Koeln SemiBold" pitchFamily="2" charset="0"/>
              </a:rPr>
              <a:t>Alle</a:t>
            </a:r>
            <a:r>
              <a:rPr lang="de-DE" sz="1300" dirty="0">
                <a:solidFill>
                  <a:schemeClr val="tx1"/>
                </a:solidFill>
                <a:latin typeface="Approach Koeln" pitchFamily="2" charset="0"/>
              </a:rPr>
              <a:t> drei Bahnsteige werden jeweils zwischen 15 und 25 Meter in Richtung Westen (Deutz) verlängert.</a:t>
            </a:r>
          </a:p>
          <a:p>
            <a:pPr marL="0" lvl="1">
              <a:spcAft>
                <a:spcPts val="600"/>
              </a:spcAft>
            </a:pPr>
            <a:r>
              <a:rPr lang="de-DE" sz="1300" b="1" dirty="0">
                <a:solidFill>
                  <a:schemeClr val="tx1"/>
                </a:solidFill>
                <a:latin typeface="Approach Koeln SemiBold" pitchFamily="2" charset="0"/>
              </a:rPr>
              <a:t>Die</a:t>
            </a:r>
            <a:r>
              <a:rPr lang="de-DE" sz="1300" dirty="0">
                <a:solidFill>
                  <a:schemeClr val="tx1"/>
                </a:solidFill>
                <a:latin typeface="Approach Koeln" pitchFamily="2" charset="0"/>
              </a:rPr>
              <a:t> westlichen Zugänge zu den Bahnsteigen und die Zuwegung zu der P+R-Anlage müssen verlegt werden. Hierzu werden die Gleisquerungen verschoben und die Zuwegungen zu den Bahnsteigen und Querungen angepasst.</a:t>
            </a:r>
          </a:p>
          <a:p>
            <a:pPr>
              <a:spcAft>
                <a:spcPts val="600"/>
              </a:spcAft>
            </a:pPr>
            <a:r>
              <a:rPr lang="de-DE" sz="1300" b="1" dirty="0">
                <a:solidFill>
                  <a:schemeClr val="tx1"/>
                </a:solidFill>
                <a:latin typeface="Approach Koeln SemiBold" pitchFamily="2" charset="0"/>
              </a:rPr>
              <a:t>Jeder</a:t>
            </a:r>
            <a:r>
              <a:rPr lang="de-DE" sz="1300" dirty="0">
                <a:solidFill>
                  <a:schemeClr val="tx1"/>
                </a:solidFill>
                <a:latin typeface="Approach Koeln" pitchFamily="2" charset="0"/>
              </a:rPr>
              <a:t> Bahnsteig wird mit einem zusätzlichen, neuen digitalen Fahrgastinformationsanzeiger (DFI) ausgestattet.</a:t>
            </a:r>
          </a:p>
          <a:p>
            <a:pPr>
              <a:spcAft>
                <a:spcPts val="600"/>
              </a:spcAft>
            </a:pPr>
            <a:r>
              <a:rPr lang="de-DE" sz="1300" b="1" dirty="0">
                <a:solidFill>
                  <a:schemeClr val="tx1"/>
                </a:solidFill>
                <a:latin typeface="Approach Koeln SemiBold" pitchFamily="2" charset="0"/>
              </a:rPr>
              <a:t>Im</a:t>
            </a:r>
            <a:r>
              <a:rPr lang="de-DE" sz="1300" dirty="0">
                <a:solidFill>
                  <a:schemeClr val="tx1"/>
                </a:solidFill>
                <a:latin typeface="Approach Koeln" pitchFamily="2" charset="0"/>
              </a:rPr>
              <a:t> Bereich der Bahnsteigverlängerung werden LED-Lampen montiert.</a:t>
            </a:r>
          </a:p>
          <a:p>
            <a:pPr marL="0" lvl="1">
              <a:spcAft>
                <a:spcPts val="600"/>
              </a:spcAft>
            </a:pPr>
            <a:r>
              <a:rPr lang="de-DE" sz="1300" b="1" dirty="0">
                <a:solidFill>
                  <a:schemeClr val="tx1"/>
                </a:solidFill>
                <a:latin typeface="Approach Koeln SemiBold" pitchFamily="2" charset="0"/>
              </a:rPr>
              <a:t>Alle</a:t>
            </a:r>
            <a:r>
              <a:rPr lang="de-DE" sz="1300" dirty="0">
                <a:solidFill>
                  <a:schemeClr val="tx1"/>
                </a:solidFill>
                <a:latin typeface="Approach Koeln" pitchFamily="2" charset="0"/>
              </a:rPr>
              <a:t> </a:t>
            </a:r>
            <a:r>
              <a:rPr lang="de-DE" sz="1300" dirty="0" err="1">
                <a:solidFill>
                  <a:schemeClr val="tx1"/>
                </a:solidFill>
                <a:latin typeface="Approach Koeln" pitchFamily="2" charset="0"/>
              </a:rPr>
              <a:t>Leuchtenköpfe</a:t>
            </a:r>
            <a:r>
              <a:rPr lang="de-DE" sz="1300" dirty="0">
                <a:solidFill>
                  <a:schemeClr val="tx1"/>
                </a:solidFill>
                <a:latin typeface="Approach Koeln" pitchFamily="2" charset="0"/>
              </a:rPr>
              <a:t> auf den Bestands-</a:t>
            </a:r>
            <a:r>
              <a:rPr lang="de-DE" sz="1300" dirty="0" err="1">
                <a:solidFill>
                  <a:schemeClr val="tx1"/>
                </a:solidFill>
                <a:latin typeface="Approach Koeln" pitchFamily="2" charset="0"/>
              </a:rPr>
              <a:t>bahnsteigen</a:t>
            </a:r>
            <a:r>
              <a:rPr lang="de-DE" sz="1300" dirty="0">
                <a:solidFill>
                  <a:schemeClr val="tx1"/>
                </a:solidFill>
                <a:latin typeface="Approach Koeln" pitchFamily="2" charset="0"/>
              </a:rPr>
              <a:t> werden durch neue ersetzt. </a:t>
            </a:r>
          </a:p>
          <a:p>
            <a:pPr marL="0" lvl="1">
              <a:spcAft>
                <a:spcPts val="600"/>
              </a:spcAft>
            </a:pPr>
            <a:r>
              <a:rPr lang="de-DE" sz="1300" b="1" dirty="0">
                <a:solidFill>
                  <a:schemeClr val="tx1"/>
                </a:solidFill>
                <a:latin typeface="Approach Koeln SemiBold" pitchFamily="2" charset="0"/>
              </a:rPr>
              <a:t>Die</a:t>
            </a:r>
            <a:r>
              <a:rPr lang="de-DE" sz="1300" dirty="0">
                <a:solidFill>
                  <a:schemeClr val="tx1"/>
                </a:solidFill>
                <a:latin typeface="Approach Koeln" pitchFamily="2" charset="0"/>
              </a:rPr>
              <a:t> Haltestelle wird mit einem Blindenleit-system ausgestattet.</a:t>
            </a:r>
          </a:p>
          <a:p>
            <a:pPr marL="0" lvl="1">
              <a:spcAft>
                <a:spcPts val="600"/>
              </a:spcAft>
            </a:pPr>
            <a:r>
              <a:rPr lang="de-DE" sz="1300" b="1" dirty="0">
                <a:solidFill>
                  <a:schemeClr val="tx1"/>
                </a:solidFill>
                <a:latin typeface="Approach Koeln SemiBold" pitchFamily="2" charset="0"/>
              </a:rPr>
              <a:t>Es</a:t>
            </a:r>
            <a:r>
              <a:rPr lang="de-DE" sz="1300" dirty="0">
                <a:solidFill>
                  <a:schemeClr val="tx1"/>
                </a:solidFill>
                <a:latin typeface="Approach Koeln" pitchFamily="2" charset="0"/>
              </a:rPr>
              <a:t> entfallen zwei Bäume im Bereich der neuen Zuwegung. Der Erhalt von zwei weiteren Bäumen am Bahnsteig „Gleis 3“ wird geprüft.</a:t>
            </a:r>
          </a:p>
          <a:p>
            <a:pPr marL="0" lvl="1">
              <a:spcAft>
                <a:spcPts val="600"/>
              </a:spcAft>
            </a:pPr>
            <a:r>
              <a:rPr lang="de-DE" sz="1300" b="1" dirty="0">
                <a:solidFill>
                  <a:schemeClr val="tx1"/>
                </a:solidFill>
                <a:latin typeface="Approach Koeln SemiBold" pitchFamily="2" charset="0"/>
              </a:rPr>
              <a:t>Es</a:t>
            </a:r>
            <a:r>
              <a:rPr lang="de-DE" sz="1300" dirty="0">
                <a:solidFill>
                  <a:schemeClr val="tx1"/>
                </a:solidFill>
                <a:latin typeface="Approach Koeln" pitchFamily="2" charset="0"/>
              </a:rPr>
              <a:t> entfallen vier P+R-Parkplätze.</a:t>
            </a:r>
          </a:p>
        </p:txBody>
      </p:sp>
    </p:spTree>
    <p:extLst>
      <p:ext uri="{BB962C8B-B14F-4D97-AF65-F5344CB8AC3E}">
        <p14:creationId xmlns:p14="http://schemas.microsoft.com/office/powerpoint/2010/main" val="353301951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09A0AB6-5043-1D85-1771-6C18D64B1CE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F143F2D0-DB8B-819F-24B9-5780ACDC835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3" name="think-cell Folie" r:id="rId4" imgW="347" imgH="348" progId="TCLayout.ActiveDocument.1">
                  <p:embed/>
                </p:oleObj>
              </mc:Choice>
              <mc:Fallback>
                <p:oleObj name="think-cell Folie" r:id="rId4" imgW="347" imgH="348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143F2D0-DB8B-819F-24B9-5780ACDC835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el 4">
            <a:extLst>
              <a:ext uri="{FF2B5EF4-FFF2-40B4-BE49-F238E27FC236}">
                <a16:creationId xmlns:a16="http://schemas.microsoft.com/office/drawing/2014/main" id="{F4D00E0A-A8B6-2361-72CC-17CE6927E45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98332" y="2273902"/>
            <a:ext cx="6732983" cy="831959"/>
          </a:xfrm>
        </p:spPr>
        <p:txBody>
          <a:bodyPr vert="horz"/>
          <a:lstStyle/>
          <a:p>
            <a:r>
              <a:rPr lang="de-DE" sz="3200" dirty="0" smtClean="0"/>
              <a:t>Backup</a:t>
            </a:r>
            <a:r>
              <a:rPr lang="de-DE" dirty="0" smtClean="0"/>
              <a:t/>
            </a:r>
            <a:br>
              <a:rPr lang="de-DE" dirty="0" smtClean="0"/>
            </a:br>
            <a:endParaRPr lang="de-DE" dirty="0"/>
          </a:p>
        </p:txBody>
      </p:sp>
      <p:sp>
        <p:nvSpPr>
          <p:cNvPr id="16" name="Fußzeilenplatzhalter 15">
            <a:extLst>
              <a:ext uri="{FF2B5EF4-FFF2-40B4-BE49-F238E27FC236}">
                <a16:creationId xmlns:a16="http://schemas.microsoft.com/office/drawing/2014/main" id="{62E409CF-2A74-A48F-C6FB-B7A68FD8EC3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WA Abschnitt Ost  </a:t>
            </a:r>
            <a:r>
              <a:rPr kumimoji="0" lang="pt-BR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| </a:t>
            </a:r>
            <a:r>
              <a:rPr kumimoji="0" lang="pt-BR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ai </a:t>
            </a:r>
            <a:r>
              <a:rPr kumimoji="0" lang="pt-BR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024 </a:t>
            </a:r>
          </a:p>
        </p:txBody>
      </p:sp>
      <p:sp>
        <p:nvSpPr>
          <p:cNvPr id="17" name="Foliennummernplatzhalter 16">
            <a:extLst>
              <a:ext uri="{FF2B5EF4-FFF2-40B4-BE49-F238E27FC236}">
                <a16:creationId xmlns:a16="http://schemas.microsoft.com/office/drawing/2014/main" id="{48F104CA-EDDF-81D0-2BF1-2F04EC65B5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B209542-CF8F-4CEE-921E-77928553DA4F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6" name="Grafik 5" descr="Ein Bild, das Screenshot, Plan, Karte enthält.&#10;&#10;Automatisch generierte Beschreibung">
            <a:extLst>
              <a:ext uri="{FF2B5EF4-FFF2-40B4-BE49-F238E27FC236}">
                <a16:creationId xmlns:a16="http://schemas.microsoft.com/office/drawing/2014/main" id="{BD2A57EF-A37C-F090-3423-11A9B1E63A72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353" t="3217" r="5213" b="21269"/>
          <a:stretch/>
        </p:blipFill>
        <p:spPr>
          <a:xfrm>
            <a:off x="432000" y="1301042"/>
            <a:ext cx="7721755" cy="4573761"/>
          </a:xfrm>
          <a:prstGeom prst="rect">
            <a:avLst/>
          </a:prstGeom>
        </p:spPr>
      </p:pic>
      <p:pic>
        <p:nvPicPr>
          <p:cNvPr id="8" name="Grafik 7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49400" y="1056494"/>
            <a:ext cx="3600000" cy="2038076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9" name="Gefaltete Ecke 16">
            <a:extLst>
              <a:ext uri="{FF2B5EF4-FFF2-40B4-BE49-F238E27FC236}">
                <a16:creationId xmlns:a16="http://schemas.microsoft.com/office/drawing/2014/main" id="{8AABD9F5-A79D-2EF5-1F72-256012473009}"/>
              </a:ext>
            </a:extLst>
          </p:cNvPr>
          <p:cNvSpPr/>
          <p:nvPr/>
        </p:nvSpPr>
        <p:spPr>
          <a:xfrm>
            <a:off x="8269415" y="545565"/>
            <a:ext cx="3846385" cy="5329238"/>
          </a:xfrm>
          <a:prstGeom prst="foldedCorner">
            <a:avLst>
              <a:gd name="adj" fmla="val 12927"/>
            </a:avLst>
          </a:prstGeom>
          <a:solidFill>
            <a:srgbClr val="A8D6EE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t"/>
          <a:lstStyle/>
          <a:p>
            <a:pPr marL="0" lvl="1">
              <a:spcAft>
                <a:spcPts val="600"/>
              </a:spcAft>
            </a:pPr>
            <a:r>
              <a:rPr lang="de-DE" sz="1300" b="1" dirty="0">
                <a:solidFill>
                  <a:schemeClr val="tx1"/>
                </a:solidFill>
                <a:latin typeface="Approach Koeln SemiBold" pitchFamily="2" charset="0"/>
              </a:rPr>
              <a:t>Was ändert sich?</a:t>
            </a:r>
          </a:p>
          <a:p>
            <a:pPr marL="0" lvl="1">
              <a:spcAft>
                <a:spcPts val="600"/>
              </a:spcAft>
            </a:pPr>
            <a:r>
              <a:rPr lang="de-DE" sz="1300" b="1" dirty="0">
                <a:solidFill>
                  <a:schemeClr val="tx1"/>
                </a:solidFill>
                <a:latin typeface="Approach Koeln SemiBold" pitchFamily="2" charset="0"/>
              </a:rPr>
              <a:t>Beide</a:t>
            </a:r>
            <a:r>
              <a:rPr lang="de-DE" sz="1300" dirty="0">
                <a:solidFill>
                  <a:schemeClr val="tx1"/>
                </a:solidFill>
                <a:latin typeface="Approach Koeln" pitchFamily="2" charset="0"/>
              </a:rPr>
              <a:t> Bahnsteige werden um circa 20 Meter verlängert. Der Bahnsteig in Fahrtrichtung </a:t>
            </a:r>
            <a:r>
              <a:rPr lang="de-DE" sz="1300" dirty="0" err="1">
                <a:solidFill>
                  <a:schemeClr val="tx1"/>
                </a:solidFill>
                <a:latin typeface="Approach Koeln" pitchFamily="2" charset="0"/>
              </a:rPr>
              <a:t>Bensberg</a:t>
            </a:r>
            <a:r>
              <a:rPr lang="de-DE" sz="1300" dirty="0">
                <a:solidFill>
                  <a:schemeClr val="tx1"/>
                </a:solidFill>
                <a:latin typeface="Approach Koeln" pitchFamily="2" charset="0"/>
              </a:rPr>
              <a:t> wird in Richtung Westen (Deutz) verlängert, der Bahnsteig in Fahrtrichtung Deutz wird in Richtung Osten (</a:t>
            </a:r>
            <a:r>
              <a:rPr lang="de-DE" sz="1300" dirty="0" err="1">
                <a:solidFill>
                  <a:schemeClr val="tx1"/>
                </a:solidFill>
                <a:latin typeface="Approach Koeln" pitchFamily="2" charset="0"/>
              </a:rPr>
              <a:t>Bensberg</a:t>
            </a:r>
            <a:r>
              <a:rPr lang="de-DE" sz="1300" dirty="0">
                <a:solidFill>
                  <a:schemeClr val="tx1"/>
                </a:solidFill>
                <a:latin typeface="Approach Koeln" pitchFamily="2" charset="0"/>
              </a:rPr>
              <a:t>) verlängert.</a:t>
            </a:r>
          </a:p>
          <a:p>
            <a:pPr marL="0" lvl="1">
              <a:spcAft>
                <a:spcPts val="600"/>
              </a:spcAft>
            </a:pPr>
            <a:r>
              <a:rPr lang="de-DE" sz="1300" b="1" dirty="0">
                <a:solidFill>
                  <a:schemeClr val="tx1"/>
                </a:solidFill>
                <a:latin typeface="Approach Koeln SemiBold" pitchFamily="2" charset="0"/>
              </a:rPr>
              <a:t>Der</a:t>
            </a:r>
            <a:r>
              <a:rPr lang="de-DE" sz="1300" dirty="0">
                <a:solidFill>
                  <a:schemeClr val="tx1"/>
                </a:solidFill>
                <a:latin typeface="Approach Koeln" pitchFamily="2" charset="0"/>
              </a:rPr>
              <a:t> Bahnsteig in Fahrtrichtung Deutz wird mit einem zusätzlichen, barrierefreien Rampenzugang versehen.</a:t>
            </a:r>
          </a:p>
          <a:p>
            <a:pPr marL="0" lvl="1">
              <a:spcAft>
                <a:spcPts val="600"/>
              </a:spcAft>
            </a:pPr>
            <a:r>
              <a:rPr lang="de-DE" sz="1300" b="1" dirty="0">
                <a:solidFill>
                  <a:schemeClr val="tx1"/>
                </a:solidFill>
                <a:latin typeface="Approach Koeln SemiBold" pitchFamily="2" charset="0"/>
              </a:rPr>
              <a:t>Auf</a:t>
            </a:r>
            <a:r>
              <a:rPr lang="de-DE" sz="1300" dirty="0">
                <a:solidFill>
                  <a:schemeClr val="tx1"/>
                </a:solidFill>
                <a:latin typeface="Approach Koeln" pitchFamily="2" charset="0"/>
              </a:rPr>
              <a:t> jedem Bahnsteig wird ein weiterer neuer digitaler Fahrgastinformationsanzeiger (DFI) installiert.</a:t>
            </a:r>
          </a:p>
          <a:p>
            <a:pPr marL="0" lvl="1">
              <a:spcAft>
                <a:spcPts val="600"/>
              </a:spcAft>
            </a:pPr>
            <a:r>
              <a:rPr lang="de-DE" sz="1300" b="1" dirty="0">
                <a:solidFill>
                  <a:schemeClr val="tx1"/>
                </a:solidFill>
                <a:latin typeface="Approach Koeln SemiBold" pitchFamily="2" charset="0"/>
              </a:rPr>
              <a:t>Im</a:t>
            </a:r>
            <a:r>
              <a:rPr lang="de-DE" sz="1300" dirty="0">
                <a:solidFill>
                  <a:schemeClr val="tx1"/>
                </a:solidFill>
                <a:latin typeface="Approach Koeln" pitchFamily="2" charset="0"/>
              </a:rPr>
              <a:t> Bereich der Bahnsteigverlängerung werden zusätzliche LED-Lampen aufgestellt.</a:t>
            </a:r>
          </a:p>
          <a:p>
            <a:pPr marL="0" lvl="1">
              <a:spcAft>
                <a:spcPts val="600"/>
              </a:spcAft>
            </a:pPr>
            <a:r>
              <a:rPr lang="de-DE" sz="1300" b="1" dirty="0">
                <a:solidFill>
                  <a:schemeClr val="tx1"/>
                </a:solidFill>
                <a:latin typeface="Approach Koeln SemiBold" pitchFamily="2" charset="0"/>
              </a:rPr>
              <a:t>Alle</a:t>
            </a:r>
            <a:r>
              <a:rPr lang="de-DE" sz="1300" dirty="0">
                <a:solidFill>
                  <a:schemeClr val="tx1"/>
                </a:solidFill>
                <a:latin typeface="Approach Koeln" pitchFamily="2" charset="0"/>
              </a:rPr>
              <a:t> </a:t>
            </a:r>
            <a:r>
              <a:rPr lang="de-DE" sz="1300" dirty="0" err="1">
                <a:solidFill>
                  <a:schemeClr val="tx1"/>
                </a:solidFill>
                <a:latin typeface="Approach Koeln" pitchFamily="2" charset="0"/>
              </a:rPr>
              <a:t>Leuchtenköpfe</a:t>
            </a:r>
            <a:r>
              <a:rPr lang="de-DE" sz="1300" dirty="0">
                <a:solidFill>
                  <a:schemeClr val="tx1"/>
                </a:solidFill>
                <a:latin typeface="Approach Koeln" pitchFamily="2" charset="0"/>
              </a:rPr>
              <a:t> auf den Bestandsbahnsteigen werden ausgetauscht und durch neue ersetzt. </a:t>
            </a:r>
          </a:p>
          <a:p>
            <a:pPr marL="0" lvl="1">
              <a:spcAft>
                <a:spcPts val="600"/>
              </a:spcAft>
            </a:pPr>
            <a:r>
              <a:rPr lang="de-DE" sz="1300" b="1" dirty="0">
                <a:solidFill>
                  <a:schemeClr val="tx1"/>
                </a:solidFill>
                <a:latin typeface="Approach Koeln SemiBold" pitchFamily="2" charset="0"/>
              </a:rPr>
              <a:t>Die</a:t>
            </a:r>
            <a:r>
              <a:rPr lang="de-DE" sz="1300" dirty="0">
                <a:solidFill>
                  <a:schemeClr val="tx1"/>
                </a:solidFill>
                <a:latin typeface="Approach Koeln" pitchFamily="2" charset="0"/>
              </a:rPr>
              <a:t> Haltestelle wird mit einem Blindenleitsystem ausgestattet.</a:t>
            </a:r>
          </a:p>
          <a:p>
            <a:pPr marL="0" lvl="1">
              <a:spcAft>
                <a:spcPts val="600"/>
              </a:spcAft>
            </a:pPr>
            <a:r>
              <a:rPr lang="de-DE" sz="1300" b="1" dirty="0">
                <a:solidFill>
                  <a:schemeClr val="tx1"/>
                </a:solidFill>
                <a:latin typeface="Approach Koeln SemiBold" pitchFamily="2" charset="0"/>
              </a:rPr>
              <a:t>Die</a:t>
            </a:r>
            <a:r>
              <a:rPr lang="de-DE" sz="1300" dirty="0">
                <a:solidFill>
                  <a:schemeClr val="tx1"/>
                </a:solidFill>
                <a:latin typeface="Approach Koeln" pitchFamily="2" charset="0"/>
              </a:rPr>
              <a:t> Schallschutzwand neben dem Gleis in Fahrtrichtung Deutz wird angepasst.</a:t>
            </a:r>
          </a:p>
          <a:p>
            <a:pPr marL="0" lvl="1">
              <a:spcAft>
                <a:spcPts val="600"/>
              </a:spcAft>
            </a:pPr>
            <a:r>
              <a:rPr lang="de-DE" sz="1300" b="1" dirty="0">
                <a:solidFill>
                  <a:schemeClr val="tx1"/>
                </a:solidFill>
                <a:latin typeface="Approach Koeln SemiBold" pitchFamily="2" charset="0"/>
              </a:rPr>
              <a:t>Die</a:t>
            </a:r>
            <a:r>
              <a:rPr lang="de-DE" sz="1300" dirty="0">
                <a:solidFill>
                  <a:schemeClr val="tx1"/>
                </a:solidFill>
                <a:latin typeface="Approach Koeln" pitchFamily="2" charset="0"/>
              </a:rPr>
              <a:t> Stadt Köln plant die Verschiebung der Bushaltestelle in Fahrtrichtung Norden auf die </a:t>
            </a:r>
            <a:br>
              <a:rPr lang="de-DE" sz="1300" dirty="0">
                <a:solidFill>
                  <a:schemeClr val="tx1"/>
                </a:solidFill>
                <a:latin typeface="Approach Koeln" pitchFamily="2" charset="0"/>
              </a:rPr>
            </a:br>
            <a:r>
              <a:rPr lang="de-DE" sz="1300" dirty="0">
                <a:solidFill>
                  <a:schemeClr val="tx1"/>
                </a:solidFill>
                <a:latin typeface="Approach Koeln" pitchFamily="2" charset="0"/>
              </a:rPr>
              <a:t>andere Seite der Gleise.</a:t>
            </a:r>
          </a:p>
        </p:txBody>
      </p:sp>
      <p:sp>
        <p:nvSpPr>
          <p:cNvPr id="10" name="Titel 3">
            <a:extLst>
              <a:ext uri="{FF2B5EF4-FFF2-40B4-BE49-F238E27FC236}">
                <a16:creationId xmlns:a16="http://schemas.microsoft.com/office/drawing/2014/main" id="{3837A3E2-33A4-B32C-C56D-DED06F32AF58}"/>
              </a:ext>
            </a:extLst>
          </p:cNvPr>
          <p:cNvSpPr txBox="1">
            <a:spLocks/>
          </p:cNvSpPr>
          <p:nvPr/>
        </p:nvSpPr>
        <p:spPr>
          <a:xfrm>
            <a:off x="432000" y="541375"/>
            <a:ext cx="6167406" cy="392845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de-DE" sz="2700" b="1" kern="1200" smtClean="0">
                <a:solidFill>
                  <a:schemeClr val="tx1"/>
                </a:solidFill>
                <a:effectLst/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pPr fontAlgn="auto">
              <a:spcAft>
                <a:spcPts val="0"/>
              </a:spcAft>
            </a:pPr>
            <a:r>
              <a:rPr lang="de-DE" sz="2800" dirty="0" err="1">
                <a:solidFill>
                  <a:srgbClr val="238A8D"/>
                </a:solidFill>
                <a:latin typeface="Approach Koeln SemiBold" pitchFamily="2" charset="0"/>
                <a:ea typeface="+mj-ea"/>
                <a:cs typeface="+mj-cs"/>
              </a:rPr>
              <a:t>Merheim</a:t>
            </a:r>
            <a:endParaRPr lang="de-DE" sz="2800" dirty="0">
              <a:solidFill>
                <a:srgbClr val="238A8D"/>
              </a:solidFill>
              <a:latin typeface="Approach Koeln SemiBold" pitchFamily="2" charset="0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257046200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09A0AB6-5043-1D85-1771-6C18D64B1CE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F143F2D0-DB8B-819F-24B9-5780ACDC835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3" name="think-cell Folie" r:id="rId4" imgW="347" imgH="348" progId="TCLayout.ActiveDocument.1">
                  <p:embed/>
                </p:oleObj>
              </mc:Choice>
              <mc:Fallback>
                <p:oleObj name="think-cell Folie" r:id="rId4" imgW="347" imgH="348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143F2D0-DB8B-819F-24B9-5780ACDC835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Fußzeilenplatzhalter 15">
            <a:extLst>
              <a:ext uri="{FF2B5EF4-FFF2-40B4-BE49-F238E27FC236}">
                <a16:creationId xmlns:a16="http://schemas.microsoft.com/office/drawing/2014/main" id="{62E409CF-2A74-A48F-C6FB-B7A68FD8EC3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WA</a:t>
            </a:r>
            <a:r>
              <a:rPr kumimoji="0" lang="pt-BR" sz="1200" b="0" i="0" u="none" strike="noStrike" kern="1200" cap="none" spc="0" normalizeH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Abschnitt Ost</a:t>
            </a:r>
            <a:r>
              <a:rPr kumimoji="0" lang="pt-BR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| Mai 2024 </a:t>
            </a:r>
            <a:endParaRPr kumimoji="0" lang="pt-BR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7" name="Foliennummernplatzhalter 16">
            <a:extLst>
              <a:ext uri="{FF2B5EF4-FFF2-40B4-BE49-F238E27FC236}">
                <a16:creationId xmlns:a16="http://schemas.microsoft.com/office/drawing/2014/main" id="{48F104CA-EDDF-81D0-2BF1-2F04EC65B5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2026262" y="148769"/>
            <a:ext cx="8209937" cy="831959"/>
          </a:xfrm>
        </p:spPr>
        <p:txBody>
          <a:bodyPr/>
          <a:lstStyle/>
          <a:p>
            <a:r>
              <a:rPr lang="de-DE" sz="3200" dirty="0">
                <a:solidFill>
                  <a:srgbClr val="238A8D"/>
                </a:solidFill>
                <a:latin typeface="Approach Koeln SemiBold" pitchFamily="2" charset="0"/>
              </a:rPr>
              <a:t>Vielen Dank</a:t>
            </a:r>
            <a:r>
              <a:rPr lang="de-DE" sz="2400" dirty="0">
                <a:solidFill>
                  <a:srgbClr val="238A8D"/>
                </a:solidFill>
                <a:latin typeface="Approach Koeln SemiBold" pitchFamily="2" charset="0"/>
              </a:rPr>
              <a:t/>
            </a:r>
            <a:br>
              <a:rPr lang="de-DE" sz="2400" dirty="0">
                <a:solidFill>
                  <a:srgbClr val="238A8D"/>
                </a:solidFill>
                <a:latin typeface="Approach Koeln SemiBold" pitchFamily="2" charset="0"/>
              </a:rPr>
            </a:br>
            <a:endParaRPr lang="de-DE" dirty="0"/>
          </a:p>
        </p:txBody>
      </p:sp>
      <p:pic>
        <p:nvPicPr>
          <p:cNvPr id="15" name="Grafik 14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26263" y="988541"/>
            <a:ext cx="7253204" cy="4978772"/>
          </a:xfrm>
          <a:prstGeom prst="rect">
            <a:avLst/>
          </a:prstGeom>
        </p:spPr>
      </p:pic>
      <p:sp>
        <p:nvSpPr>
          <p:cNvPr id="18" name="Titel 7">
            <a:extLst>
              <a:ext uri="{FF2B5EF4-FFF2-40B4-BE49-F238E27FC236}">
                <a16:creationId xmlns:a16="http://schemas.microsoft.com/office/drawing/2014/main" id="{6319B648-FCC6-E749-5BDF-FA6A5B102CA8}"/>
              </a:ext>
            </a:extLst>
          </p:cNvPr>
          <p:cNvSpPr txBox="1">
            <a:spLocks/>
          </p:cNvSpPr>
          <p:nvPr/>
        </p:nvSpPr>
        <p:spPr>
          <a:xfrm>
            <a:off x="1956258" y="5467685"/>
            <a:ext cx="3840713" cy="507441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i="0" kern="1200">
                <a:solidFill>
                  <a:srgbClr val="238A8D"/>
                </a:solidFill>
                <a:latin typeface="Approach Koeln SemiBold" pitchFamily="2" charset="0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800" b="1" i="0" u="none" strike="noStrike" kern="1200" cap="none" spc="0" normalizeH="0" baseline="0" noProof="0" smtClean="0">
                <a:ln>
                  <a:noFill/>
                </a:ln>
                <a:solidFill>
                  <a:srgbClr val="238A8D"/>
                </a:solidFill>
                <a:effectLst/>
                <a:uLnTx/>
                <a:uFillTx/>
                <a:latin typeface="Approach Koeln SemiBold" pitchFamily="2" charset="0"/>
                <a:ea typeface="+mj-ea"/>
                <a:cs typeface="+mj-cs"/>
              </a:rPr>
              <a:t>Heumarkt</a:t>
            </a:r>
            <a:endParaRPr kumimoji="0" lang="de-DE" sz="2800" b="1" i="0" u="none" strike="noStrike" kern="1200" cap="none" spc="0" normalizeH="0" baseline="0" noProof="0" dirty="0">
              <a:ln>
                <a:noFill/>
              </a:ln>
              <a:solidFill>
                <a:srgbClr val="238A8D"/>
              </a:solidFill>
              <a:effectLst/>
              <a:uLnTx/>
              <a:uFillTx/>
              <a:latin typeface="Approach Koeln SemiBold" pitchFamily="2" charset="0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38085798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itel">
  <a:themeElements>
    <a:clrScheme name="Stadt Köln leer ska 1">
      <a:dk1>
        <a:srgbClr val="000000"/>
      </a:dk1>
      <a:lt1>
        <a:srgbClr val="FFFFFF"/>
      </a:lt1>
      <a:dk2>
        <a:srgbClr val="000000"/>
      </a:dk2>
      <a:lt2>
        <a:srgbClr val="4D4D4D"/>
      </a:lt2>
      <a:accent1>
        <a:srgbClr val="C0C0C0"/>
      </a:accent1>
      <a:accent2>
        <a:srgbClr val="ED1C24"/>
      </a:accent2>
      <a:accent3>
        <a:srgbClr val="FFFFFF"/>
      </a:accent3>
      <a:accent4>
        <a:srgbClr val="000000"/>
      </a:accent4>
      <a:accent5>
        <a:srgbClr val="DCDCDC"/>
      </a:accent5>
      <a:accent6>
        <a:srgbClr val="D71820"/>
      </a:accent6>
      <a:hlink>
        <a:srgbClr val="8B0B11"/>
      </a:hlink>
      <a:folHlink>
        <a:srgbClr val="808080"/>
      </a:folHlink>
    </a:clrScheme>
    <a:fontScheme name="Stadt Köln leer ska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Stadt Köln leer ska 1">
        <a:dk1>
          <a:srgbClr val="000000"/>
        </a:dk1>
        <a:lt1>
          <a:srgbClr val="FFFFFF"/>
        </a:lt1>
        <a:dk2>
          <a:srgbClr val="000000"/>
        </a:dk2>
        <a:lt2>
          <a:srgbClr val="4D4D4D"/>
        </a:lt2>
        <a:accent1>
          <a:srgbClr val="C0C0C0"/>
        </a:accent1>
        <a:accent2>
          <a:srgbClr val="ED1C24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D71820"/>
        </a:accent6>
        <a:hlink>
          <a:srgbClr val="8B0B11"/>
        </a:hlink>
        <a:folHlink>
          <a:srgbClr val="80808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adt Köln leer ska 2">
        <a:dk1>
          <a:srgbClr val="000000"/>
        </a:dk1>
        <a:lt1>
          <a:srgbClr val="FFFFFF"/>
        </a:lt1>
        <a:dk2>
          <a:srgbClr val="000000"/>
        </a:dk2>
        <a:lt2>
          <a:srgbClr val="8B0B11"/>
        </a:lt2>
        <a:accent1>
          <a:srgbClr val="4D4D4D"/>
        </a:accent1>
        <a:accent2>
          <a:srgbClr val="F59187"/>
        </a:accent2>
        <a:accent3>
          <a:srgbClr val="FFFFFF"/>
        </a:accent3>
        <a:accent4>
          <a:srgbClr val="000000"/>
        </a:accent4>
        <a:accent5>
          <a:srgbClr val="B2B2B2"/>
        </a:accent5>
        <a:accent6>
          <a:srgbClr val="DE837A"/>
        </a:accent6>
        <a:hlink>
          <a:srgbClr val="E5CE93"/>
        </a:hlink>
        <a:folHlink>
          <a:srgbClr val="08234E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Inhalt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">
  <a:themeElements>
    <a:clrScheme name="SRP-KVP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923366"/>
      </a:accent1>
      <a:accent2>
        <a:srgbClr val="D2D934"/>
      </a:accent2>
      <a:accent3>
        <a:srgbClr val="238A8D"/>
      </a:accent3>
      <a:accent4>
        <a:srgbClr val="F38D32"/>
      </a:accent4>
      <a:accent5>
        <a:srgbClr val="595399"/>
      </a:accent5>
      <a:accent6>
        <a:srgbClr val="E35956"/>
      </a:accent6>
      <a:hlink>
        <a:srgbClr val="2078B6"/>
      </a:hlink>
      <a:folHlink>
        <a:srgbClr val="805798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6"/>
        </a:solidFill>
        <a:ln w="6350">
          <a:solidFill>
            <a:srgbClr val="E35956"/>
          </a:solidFill>
        </a:ln>
      </a:spPr>
      <a:bodyPr rtlCol="0" anchor="ctr"/>
      <a:lstStyle>
        <a:defPPr algn="ctr">
          <a:defRPr sz="1400"/>
        </a:defPPr>
      </a:lstStyle>
      <a:style>
        <a:lnRef idx="2">
          <a:schemeClr val="accent1">
            <a:shade val="15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rgbClr val="E3595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Präsentation1" id="{C0B95771-80B3-4CF6-9FB8-AE0871A49A9F}" vid="{CE80BA83-FDAB-476F-A762-BC1D6387A0B3}"/>
    </a:ext>
  </a:extLst>
</a:theme>
</file>

<file path=ppt/theme/theme4.xml><?xml version="1.0" encoding="utf-8"?>
<a:theme xmlns:a="http://schemas.openxmlformats.org/drawingml/2006/main" name="Larissa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Larissa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?mso-contentType ?>
<spe:Receivers xmlns:spe="http://schemas.microsoft.com/sharepoint/events"/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Ordner xmlns="e8d13587-c200-4847-ac76-54c761923deb">06 Dialog &amp; Stakeholder</Ordner>
    <Recieved xmlns="e8d13587-c200-4847-ac76-54c761923deb" xsi:nil="true"/>
    <SrxCfg05 xmlns="45b2afd0-942b-42f3-a2ad-7c9012163f85">18</SrxCfg05>
    <SrxDocChoice01 xmlns="e8d13587-c200-4847-ac76-54c761923deb">1</SrxDocChoice01>
    <Aktionen xmlns="e8d13587-c200-4847-ac76-54c761923deb">&lt;Actions&gt;&lt;Run /&gt;&lt;History /&gt;&lt;/Actions&gt;</Aktionen>
    <SharxxFMSettings xmlns="e071261b-6441-4488-ac63-4008f5a77b76" xsi:nil="true"/>
    <Dateiname xmlns="e8d13587-c200-4847-ac76-54c761923deb">230907 OWA_Präsentation 6. PBG</Dateiname>
    <IconAttachments xmlns="e8d13587-c200-4847-ac76-54c761923deb">
      <Url xsi:nil="true"/>
      <Description xsi:nil="true"/>
    </IconAttachments>
    <SrxCfg03 xmlns="b6c704e3-4f78-43fd-ab7f-033462436133">12</SrxCfg03>
    <FileManagerStatusField xmlns="e8d13587-c200-4847-ac76-54c761923deb">;#%7b%22RowStatusPlugins%22%3a%5b%7b%22_status%22%3a0%2c%22IdPlugin%22%3a%22270b263a-30b7-46a0-94f5-8171502b4a46%22%2c%22Status%22%3a0%2c%22ShortStatusMessage%22%3anull%2c%22DetailedStatusMessage%22%3anull%2c%22ChangeSessions%22%3a%5b%5d%2c%22LastChanged%22%3a%22%5c%2fDate(1694187863669)%5c%2f%22%2c%22ActionRequired%22%3anull%2c%22NextStep%22%3anull%2c%22PluginDetailStatusCode%22%3a0%7d%2c%7b%22_status%22%3a3%2c%22IdPlugin%22%3a%2238212c6c-69a0-4bc1-a21f-042c9a8774c7%22%2c%22Status%22%3a3%2c%22ShortStatusMessage%22%3a%22Ein+oder+mehrere+Feld(er)+konnten+nicht+gef%c3%bcllt+werden%22%2c%22DetailedStatusMessage%22%3a%22+Dokumentart+(2+-+2)%3a+Zielfeld+ist+ein+Lookup-Feld%3a+Kein+passender+Wert+in+der+Quellliste+gefunden%5cn%5ct+Phase+(3+-+3)%3a+Nicht+ausreichend+Werte+extrahiert+um+dieses+Feld+zu+f%c3%bcllen%5cn%5ct+Gewerk%2fFachbereich+(4+-+4)%3a+Nicht+ausreichend+Werte+extrahiert+um+dieses+Feld+zu+f%c3%bcllen%5cn%5ct+Inhalt+(5+-+5)%3a+Nicht+ausreichend+Werte+extrahiert+um+dieses+Feld+zu+f%c3%bcllen%22%2c%22ChangeSessions%22%3a%5b%7b%22IdSession%22%3a%223cba224f-8776-4b58-8831-40e3444d1162%22%2c%22Executed%22%3a%22%5c%2fDate(1694187806920)%5c%2f%22%2c%22ExecutionTriggerdBy%22%3a%22EventReceiver%3b+User%3a1592%22%2c%22HistoryValues%22%3a%5b%7b%22IdHistoryEntry%22%3a%223e1632d4-72d2-4ce3-8815-19d773d261fb%22%2c%22Changer%22%3a%2200000000-0000-0000-0000-000000000000%22%2c%22Type%22%3a0%2c%22CustomChangeType%22%3a%22DocumentUploaded%22%2c%22ChangeValueRef%22%3a%22169%22%2c%22ChangeOldValue%22%3anull%2c%22ChangeNewValue%22%3anull%2c%22Successfull%22%3afalse%7d%2c%7b%22IdHistoryEntry%22%3a%22409f96ff-9ddc-44e6-8580-6053292894a2%22%2c%22Changer%22%3a%2238212c6c-69a0-4bc1-a21f-042c9a8774c7%22%2c%22Type%22%3a3%2c%22CustomChangeType%22%3anull%2c%22ChangeValueRef%22%3a%22SrxCfg05%22%2c%22ChangeOldValue%22%3anull%2c%22ChangeNewValue%22%3a%22230907+OWA%22%2c%22Successfull%22%3afalse%7d%2c%7b%22IdHistoryEntry%22%3a%22b7a240a5-995a-4f93-9a3b-39696e20f734%22%2c%22Changer%22%3a%2238212c6c-69a0-4bc1-a21f-042c9a8774c7%22%2c%22Type%22%3a3%2c%22CustomChangeType%22%3anull%2c%22ChangeValueRef%22%3a%22SrxCfg02%22%2c%22ChangeOldValue%22%3anull%2c%22ChangeNewValue%22%3a%22Pr%c3%a4sentation+6.+PBG%22%2c%22Successfull%22%3afalse%7d%5d%7d%2c%7b%22IdSession%22%3a%2214cd361d-b6a9-463d-8815-2c7e45f635ec%22%2c%22Executed%22%3a%22%5c%2fDate(1694187845466)%5c%2f%22%2c%22ExecutionTriggerdBy%22%3a%22EventReceiver%3b+User%3a1592%22%2c%22HistoryValues%22%3a%5b%5d%7d%5d%2c%22LastChanged%22%3a%22%5c%2fDate(1694187863669)%5c%2f%22%2c%22ActionRequired%22%3anull%2c%22NextStep%22%3anull%2c%22PluginDetailStatusCode%22%3a0%7d%2c%7b%22_status%22%3a1%2c%22IdPlugin%22%3a%22c01425c8-07cf-4576-b991-075944063596%22%2c%22Status%22%3a1%2c%22ShortStatusMessage%22%3a%22%22%2c%22DetailedStatusMessage%22%3a%22%22%2c%22ChangeSessions%22%3a%5b%7b%22IdSession%22%3a%22f9e2a4fe-bfc0-459b-9073-99d5b5d23cc2%22%2c%22Executed%22%3a%22%5c%2fDate(1694187806967)%5c%2f%22%2c%22ExecutionTriggerdBy%22%3a%22c01425c8-07cf-4576-b991-075944063596%22%2c%22HistoryValues%22%3a%5b%7b%22IdHistoryEntry%22%3a%225b567035-7f07-420f-90f9-bda083cbda7c%22%2c%22Changer%22%3a%2200000000-0000-0000-0000-000000000000%22%2c%22Type%22%3a0%2c%22CustomChangeType%22%3a%22DocumentUploaded%22%2c%22ChangeValueRef%22%3anull%2c%22ChangeOldValue%22%3anull%2c%22ChangeNewValue%22%3anull%2c%22Successfull%22%3atrue%7d%5d%7d%2c%7b%22IdSession%22%3a%22ba3c066e-5f5f-416a-9462-5e5cfa3f2ae5%22%2c%22Executed%22%3a%22%5c%2fDate(1694187860044)%5c%2f%22%2c%22ExecutionTriggerdBy%22%3a%22EventReceiver%3b+User%3a1592%22%2c%22HistoryValues%22%3a%5b%7b%22IdHistoryEntry%22%3a%2240368430-1f45-4146-b310-4ecf1c0f046c%22%2c%22Changer%22%3a%22c01425c8-07cf-4576-b991-075944063596%22%2c%22Type%22%3a9%2c%22CustomChangeType%22%3anull%2c%22ChangeValueRef%22%3anull%2c%22ChangeOldValue%22%3a%22%2f69%2f16030%2fSrxDoc02%2f%c3%96ffentlichkeitsarbeit%2f06+Dialog+%5cu0026+Stakeholder%2f230907+OWA_Pr%c3%a4sentation+6.+PBG.pptx%22%2c%22ChangeNewValue%22%3a%22%2f69%2f16030%2fSrxDoc02%2f%c3%96ffentlichkeitsarbeit%2f06+Dialog+%5cu0026+Stakeholder%2fOWA0_SV_X_KO_Pr%c3%a4sentation+6.+PBG+KVB.pptx%22%2c%22Successfull%22%3atrue%7d%5d%7d%2c%7b%22IdSession%22%3a%22f1bcdf93-b760-4fb5-bbc6-5ad5216dcbc8%22%2c%22Executed%22%3a%22%5c%2fDate(1694187864685)%5c%2f%22%2c%22ExecutionTriggerdBy%22%3a%22EventReceiver%3b+User%3a1592%22%2c%22HistoryValues%22%3a%5b%7b%22IdHistoryEntry%22%3a%22e1486055-1a0c-42cd-bfd4-71f976a51925%22%2c%22Changer%22%3a%22c01425c8-07cf-4576-b991-075944063596%22%2c%22Type%22%3a11%2c%22CustomChangeType%22%3anull%2c%22ChangeValueRef%22%3anull%2c%22ChangeOldValue%22%3a%22%2f69%2f16030%2fSrxDoc02%2f%c3%96ffentlichkeitsarbeit%2f06+Dialog+%5cu0026+Stakeholder%2f230907+OWA_Pr%c3%a4sentation+6.+PBG.pptx%22%2c%22ChangeNewValue%22%3a%22%22%2c%22Successfull%22%3atrue%7d%5d%7d%5d%2c%22LastChanged%22%3a%22%5c%2fDate(1694187863669)%5c%2f%22%2c%22ActionRequired%22%3anull%2c%22NextStep%22%3anull%2c%22PluginDetailStatusCode%22%3a0%7d%5d%2c%22LastChange%22%3a%22%5c%2fDate(1694187865107)%5c%2f%22%2c%22_exclusiveLockByIdPlugin%22%3anull%2c%22_criticalProgressByIdPlugin%22%3anull%2c%22_ignoreItem%22%3afalse%2c%22ExclusiveLockByIdPlugin%22%3anull%2c%22CriticalProgressByIdPlugin%22%3anull%2c%22IgnoreItem%22%3afalse%2c%22ExclusiveLocked%22%3afalse%2c%22InCriticalProgress%22%3afalse%7d;#</FileManagerStatusField>
    <BCC xmlns="e8d13587-c200-4847-ac76-54c761923deb"/>
    <SrxCfg01 xmlns="b6c704e3-4f78-43fd-ab7f-033462436133">168</SrxCfg01>
    <SrxIat01 xmlns="e8d13587-c200-4847-ac76-54c761923deb">baec8974-af3d-41ec-ba6a-94302db2d46f</SrxIat01>
    <Sender xmlns="e8d13587-c200-4847-ac76-54c761923deb" xsi:nil="true"/>
    <ExternLink_SrxCon01 xmlns="095e3f0d-481a-4032-a086-3cd5ba613b3c"/>
    <CC xmlns="e8d13587-c200-4847-ac76-54c761923deb"/>
    <SrxDocTxt01 xmlns="b6c704e3-4f78-43fd-ab7f-033462436133" xsi:nil="true"/>
    <ExternLinkView_SrxCon01 xmlns="095e3f0d-481a-4032-a086-3cd5ba613b3c" xsi:nil="true"/>
    <NumAttachments xmlns="e8d13587-c200-4847-ac76-54c761923deb" xsi:nil="true"/>
    <CMListItemInternalIdentifier xmlns="6d1db4f7-9732-4119-94c5-a782c47b6342" xsi:nil="true"/>
    <_dlc_DocIdPersistId xmlns="86bbaa44-43d1-44a8-9feb-119e11ec60a4" xsi:nil="true"/>
    <SrxCfg02 xmlns="b6c704e3-4f78-43fd-ab7f-033462436133">212</SrxCfg02>
    <Recipient xmlns="e8d13587-c200-4847-ac76-54c761923deb"/>
    <Importance xmlns="e8d13587-c200-4847-ac76-54c761923deb" xsi:nil="true"/>
  </documentManagement>
</p:properties>
</file>

<file path=customXml/item4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D3640C806E285D40A0F54C079C623342" ma:contentTypeVersion="56" ma:contentTypeDescription="Ein neues Dokument erstellen." ma:contentTypeScope="" ma:versionID="dd5f343e5b41aa5b57cc16c73c4e7959">
  <xsd:schema xmlns:xsd="http://www.w3.org/2001/XMLSchema" xmlns:xs="http://www.w3.org/2001/XMLSchema" xmlns:p="http://schemas.microsoft.com/office/2006/metadata/properties" xmlns:ns2="45b2afd0-942b-42f3-a2ad-7c9012163f85" xmlns:ns3="b6c704e3-4f78-43fd-ab7f-033462436133" xmlns:ns4="e8d13587-c200-4847-ac76-54c761923deb" xmlns:ns5="6d1db4f7-9732-4119-94c5-a782c47b6342" xmlns:ns6="86bbaa44-43d1-44a8-9feb-119e11ec60a4" xmlns:ns7="095e3f0d-481a-4032-a086-3cd5ba613b3c" xmlns:ns8="e071261b-6441-4488-ac63-4008f5a77b76" targetNamespace="http://schemas.microsoft.com/office/2006/metadata/properties" ma:root="true" ma:fieldsID="eed22a1afbc1372f392bac24e6908c53" ns2:_="" ns3:_="" ns4:_="" ns5:_="" ns6:_="" ns7:_="" ns8:_="">
    <xsd:import namespace="45b2afd0-942b-42f3-a2ad-7c9012163f85"/>
    <xsd:import namespace="b6c704e3-4f78-43fd-ab7f-033462436133"/>
    <xsd:import namespace="e8d13587-c200-4847-ac76-54c761923deb"/>
    <xsd:import namespace="6d1db4f7-9732-4119-94c5-a782c47b6342"/>
    <xsd:import namespace="86bbaa44-43d1-44a8-9feb-119e11ec60a4"/>
    <xsd:import namespace="095e3f0d-481a-4032-a086-3cd5ba613b3c"/>
    <xsd:import namespace="e071261b-6441-4488-ac63-4008f5a77b76"/>
    <xsd:element name="properties">
      <xsd:complexType>
        <xsd:sequence>
          <xsd:element name="documentManagement">
            <xsd:complexType>
              <xsd:all>
                <xsd:element ref="ns2:SrxCfg05"/>
                <xsd:element ref="ns3:SrxCfg02"/>
                <xsd:element ref="ns3:SrxCfg03"/>
                <xsd:element ref="ns3:SrxCfg01"/>
                <xsd:element ref="ns3:SrxDocTxt01" minOccurs="0"/>
                <xsd:element ref="ns4:Sender" minOccurs="0"/>
                <xsd:element ref="ns4:Recipient" minOccurs="0"/>
                <xsd:element ref="ns4:NumAttachments" minOccurs="0"/>
                <xsd:element ref="ns4:Recieved" minOccurs="0"/>
                <xsd:element ref="ns4:CC" minOccurs="0"/>
                <xsd:element ref="ns4:BCC" minOccurs="0"/>
                <xsd:element ref="ns4:Importance" minOccurs="0"/>
                <xsd:element ref="ns4:SrxDocChoice01" minOccurs="0"/>
                <xsd:element ref="ns4:Aktionen" minOccurs="0"/>
                <xsd:element ref="ns5:CMListItemInternalIdentifier" minOccurs="0"/>
                <xsd:element ref="ns6:_dlc_DocIdUrl" minOccurs="0"/>
                <xsd:element ref="ns6:_dlc_DocId" minOccurs="0"/>
                <xsd:element ref="ns6:_dlc_DocIdPersistId" minOccurs="0"/>
                <xsd:element ref="ns4:Ordner" minOccurs="0"/>
                <xsd:element ref="ns4:Dateiname" minOccurs="0"/>
                <xsd:element ref="ns4:FileManagerStatusField" minOccurs="0"/>
                <xsd:element ref="ns7:ExternLink_SrxCon01" minOccurs="0"/>
                <xsd:element ref="ns7:ExternLinkView_SrxCon01" minOccurs="0"/>
                <xsd:element ref="ns3:SharedWithUsers" minOccurs="0"/>
                <xsd:element ref="ns4:SrxIat01" minOccurs="0"/>
                <xsd:element ref="ns4:IconAttachments" minOccurs="0"/>
                <xsd:element ref="ns8:SharxxFMSetting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5b2afd0-942b-42f3-a2ad-7c9012163f85" elementFormDefault="qualified">
    <xsd:import namespace="http://schemas.microsoft.com/office/2006/documentManagement/types"/>
    <xsd:import namespace="http://schemas.microsoft.com/office/infopath/2007/PartnerControls"/>
    <xsd:element name="SrxCfg05" ma:index="1" ma:displayName="Teilbauwerk/Ort" ma:indexed="true" ma:list="{5e045c73-2103-4612-a5a1-d5ff6efd387d}" ma:internalName="SrxCfg05" ma:readOnly="false" ma:showField="SrxCfgCalc01" ma:web="8c313d7f-3fd2-4e20-bcc5-3ac41f8c310a">
      <xsd:simpleType>
        <xsd:restriction base="dms:Lookup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6c704e3-4f78-43fd-ab7f-033462436133" elementFormDefault="qualified">
    <xsd:import namespace="http://schemas.microsoft.com/office/2006/documentManagement/types"/>
    <xsd:import namespace="http://schemas.microsoft.com/office/infopath/2007/PartnerControls"/>
    <xsd:element name="SrxCfg02" ma:index="2" ma:displayName="Dokumentart" ma:indexed="true" ma:list="{f3596045-4c1e-4eb3-b5c9-8c6c3f54806d}" ma:internalName="SrxCfg02" ma:readOnly="false" ma:showField="T_000034244EA5" ma:web="8c313d7f-3fd2-4e20-bcc5-3ac41f8c310a">
      <xsd:simpleType>
        <xsd:restriction base="dms:Lookup"/>
      </xsd:simpleType>
    </xsd:element>
    <xsd:element name="SrxCfg03" ma:index="3" ma:displayName="Phase" ma:indexed="true" ma:list="{41631b0d-42fe-4a3e-8d79-31c72714b000}" ma:internalName="SrxCfg03" ma:readOnly="false" ma:showField="SrxCfgCalc01" ma:web="8c313d7f-3fd2-4e20-bcc5-3ac41f8c310a">
      <xsd:simpleType>
        <xsd:restriction base="dms:Lookup"/>
      </xsd:simpleType>
    </xsd:element>
    <xsd:element name="SrxCfg01" ma:index="4" ma:displayName="Gewerk/Fachbereich" ma:indexed="true" ma:list="{6ea93546-b4e6-4d14-8e93-ddf613624e55}" ma:internalName="SrxCfg01" ma:readOnly="false" ma:showField="SrxCfgCalc01" ma:web="8c313d7f-3fd2-4e20-bcc5-3ac41f8c310a">
      <xsd:simpleType>
        <xsd:restriction base="dms:Lookup"/>
      </xsd:simpleType>
    </xsd:element>
    <xsd:element name="SrxDocTxt01" ma:index="6" nillable="true" ma:displayName="Kommentar" ma:internalName="SrxDocTxt01">
      <xsd:simpleType>
        <xsd:restriction base="dms:Note"/>
      </xsd:simpleType>
    </xsd:element>
    <xsd:element name="SharedWithUsers" ma:index="31" nillable="true" ma:displayName="Freigegeben für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8d13587-c200-4847-ac76-54c761923deb" elementFormDefault="qualified">
    <xsd:import namespace="http://schemas.microsoft.com/office/2006/documentManagement/types"/>
    <xsd:import namespace="http://schemas.microsoft.com/office/infopath/2007/PartnerControls"/>
    <xsd:element name="Sender" ma:index="7" nillable="true" ma:displayName="Von" ma:list="{be527272-59e6-4c7c-bc3c-4561a5d8b50f}" ma:internalName="Sender" ma:showField="FullName" ma:web="8c313d7f-3fd2-4e20-bcc5-3ac41f8c310a">
      <xsd:simpleType>
        <xsd:restriction base="dms:Lookup"/>
      </xsd:simpleType>
    </xsd:element>
    <xsd:element name="Recipient" ma:index="8" nillable="true" ma:displayName="An" ma:list="{be527272-59e6-4c7c-bc3c-4561a5d8b50f}" ma:internalName="Recipient" ma:showField="FullName" ma:web="8c313d7f-3fd2-4e20-bcc5-3ac41f8c310a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NumAttachments" ma:index="9" nillable="true" ma:displayName="Anzahl Anhänge" ma:internalName="NumAttachments" ma:percentage="FALSE">
      <xsd:simpleType>
        <xsd:restriction base="dms:Number"/>
      </xsd:simpleType>
    </xsd:element>
    <xsd:element name="Recieved" ma:index="10" nillable="true" ma:displayName="Empfangen" ma:format="DateTime" ma:internalName="Recieved">
      <xsd:simpleType>
        <xsd:restriction base="dms:DateTime"/>
      </xsd:simpleType>
    </xsd:element>
    <xsd:element name="CC" ma:index="11" nillable="true" ma:displayName="CC" ma:list="{be527272-59e6-4c7c-bc3c-4561a5d8b50f}" ma:internalName="CC" ma:showField="FullName" ma:web="8c313d7f-3fd2-4e20-bcc5-3ac41f8c310a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BCC" ma:index="12" nillable="true" ma:displayName="BCC" ma:list="{be527272-59e6-4c7c-bc3c-4561a5d8b50f}" ma:internalName="BCC" ma:showField="FullName" ma:web="8c313d7f-3fd2-4e20-bcc5-3ac41f8c310a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Importance" ma:index="13" nillable="true" ma:displayName="Wichtigkeit" ma:internalName="Importance">
      <xsd:simpleType>
        <xsd:restriction base="dms:Choice">
          <xsd:enumeration value="Hoch"/>
          <xsd:enumeration value="Normal"/>
          <xsd:enumeration value="Niedrig"/>
        </xsd:restriction>
      </xsd:simpleType>
    </xsd:element>
    <xsd:element name="SrxDocChoice01" ma:index="14" nillable="true" ma:displayName="Anzeige" ma:format="Dropdown" ma:internalName="SrxDocChoice01">
      <xsd:simpleType>
        <xsd:restriction base="dms:Choice">
          <xsd:enumeration value="1"/>
          <xsd:enumeration value="2"/>
        </xsd:restriction>
      </xsd:simpleType>
    </xsd:element>
    <xsd:element name="Aktionen" ma:index="15" nillable="true" ma:displayName="Aktionen" ma:internalName="Aktionen">
      <xsd:simpleType>
        <xsd:restriction base="dms:Unknown"/>
      </xsd:simpleType>
    </xsd:element>
    <xsd:element name="Ordner" ma:index="25" nillable="true" ma:displayName="Ordner" ma:internalName="Ordner" ma:readOnly="true">
      <xsd:simpleType>
        <xsd:restriction base="dms:Text"/>
      </xsd:simpleType>
    </xsd:element>
    <xsd:element name="Dateiname" ma:index="26" nillable="true" ma:displayName="Dateiname" ma:indexed="true" ma:internalName="Dateiname" ma:readOnly="true">
      <xsd:simpleType>
        <xsd:restriction base="dms:Text"/>
      </xsd:simpleType>
    </xsd:element>
    <xsd:element name="FileManagerStatusField" ma:index="27" nillable="true" ma:displayName="FMS" ma:internalName="FileManagerStatusField">
      <xsd:simpleType>
        <xsd:restriction base="dms:Unknown"/>
      </xsd:simpleType>
    </xsd:element>
    <xsd:element name="SrxIat01" ma:index="32" nillable="true" ma:displayName="Aufgaben" ma:indexed="true" ma:internalName="SrxIat01">
      <xsd:simpleType>
        <xsd:restriction base="dms:Unknown"/>
      </xsd:simpleType>
    </xsd:element>
    <xsd:element name="IconAttachments" ma:index="33" nillable="true" ma:displayName="Anhang" ma:format="Image" ma:internalName="IconAttachments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d1db4f7-9732-4119-94c5-a782c47b6342" elementFormDefault="qualified">
    <xsd:import namespace="http://schemas.microsoft.com/office/2006/documentManagement/types"/>
    <xsd:import namespace="http://schemas.microsoft.com/office/infopath/2007/PartnerControls"/>
    <xsd:element name="CMListItemInternalIdentifier" ma:index="16" nillable="true" ma:displayName="CMListItemInternalIdentifier" ma:hidden="true" ma:internalName="CMListItemInternalIdentifier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6bbaa44-43d1-44a8-9feb-119e11ec60a4" elementFormDefault="qualified">
    <xsd:import namespace="http://schemas.microsoft.com/office/2006/documentManagement/types"/>
    <xsd:import namespace="http://schemas.microsoft.com/office/infopath/2007/PartnerControls"/>
    <xsd:element name="_dlc_DocIdUrl" ma:index="17" nillable="true" ma:displayName="Dokument-ID" ma:description="Permanenter Hyperlink zu diesem Dokument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" ma:index="18" nillable="true" ma:displayName="Wert der Dokument-ID" ma:description="Der Wert der diesem Element zugewiesenen Dokument-ID." ma:internalName="_dlc_DocId" ma:readOnly="true">
      <xsd:simpleType>
        <xsd:restriction base="dms:Text"/>
      </xsd:simpleType>
    </xsd:element>
    <xsd:element name="_dlc_DocIdPersistId" ma:index="20" nillable="true" ma:displayName="Beständige ID" ma:description="ID beim Hinzufügen beibehalten." ma:hidden="true" ma:internalName="_dlc_DocIdPersistId" ma:readOnly="false">
      <xsd:simpleType>
        <xsd:restriction base="dms:Boolea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95e3f0d-481a-4032-a086-3cd5ba613b3c" elementFormDefault="qualified">
    <xsd:import namespace="http://schemas.microsoft.com/office/2006/documentManagement/types"/>
    <xsd:import namespace="http://schemas.microsoft.com/office/infopath/2007/PartnerControls"/>
    <xsd:element name="ExternLink_SrxCon01" ma:index="29" nillable="true" ma:displayName="ExternLink_SrxCon01" ma:list="{30e9aea6-1d17-4112-b0d8-5b58756ace66}" ma:internalName="ExternLink_SrxCon01" ma:showField="Title" ma:web="8c313d7f-3fd2-4e20-bcc5-3ac41f8c310a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ExternLinkView_SrxCon01" ma:index="30" nillable="true" ma:displayName="Externe Links (Kontakte)" ma:internalName="ExternLinkView_SrxCon01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071261b-6441-4488-ac63-4008f5a77b76" elementFormDefault="qualified">
    <xsd:import namespace="http://schemas.microsoft.com/office/2006/documentManagement/types"/>
    <xsd:import namespace="http://schemas.microsoft.com/office/infopath/2007/PartnerControls"/>
    <xsd:element name="SharxxFMSettings" ma:index="35" nillable="true" ma:displayName="SharxxFMSettings" ma:internalName="SharxxFMSettings">
      <xsd:simpleType>
        <xsd:restriction base="dms:Unknow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28" ma:displayName="Inhaltstyp"/>
        <xsd:element ref="dc:title" maxOccurs="1" ma:index="5" ma:displayName="Inhalt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ED5FD609-E294-4CC8-84D3-262713075710}">
  <ds:schemaRefs>
    <ds:schemaRef ds:uri="http://schemas.microsoft.com/sharepoint/events"/>
  </ds:schemaRefs>
</ds:datastoreItem>
</file>

<file path=customXml/itemProps2.xml><?xml version="1.0" encoding="utf-8"?>
<ds:datastoreItem xmlns:ds="http://schemas.openxmlformats.org/officeDocument/2006/customXml" ds:itemID="{D0DCECBD-F9B3-4D22-BC35-59CD8541CE04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D774A54E-3268-4C2F-BB1B-6065E682FAEE}">
  <ds:schemaRefs>
    <ds:schemaRef ds:uri="http://purl.org/dc/terms/"/>
    <ds:schemaRef ds:uri="http://purl.org/dc/elements/1.1/"/>
    <ds:schemaRef ds:uri="http://purl.org/dc/dcmitype/"/>
    <ds:schemaRef ds:uri="http://schemas.microsoft.com/office/infopath/2007/PartnerControls"/>
    <ds:schemaRef ds:uri="6d1db4f7-9732-4119-94c5-a782c47b6342"/>
    <ds:schemaRef ds:uri="095e3f0d-481a-4032-a086-3cd5ba613b3c"/>
    <ds:schemaRef ds:uri="e8d13587-c200-4847-ac76-54c761923deb"/>
    <ds:schemaRef ds:uri="http://schemas.microsoft.com/office/2006/metadata/properties"/>
    <ds:schemaRef ds:uri="http://schemas.openxmlformats.org/package/2006/metadata/core-properties"/>
    <ds:schemaRef ds:uri="http://schemas.microsoft.com/office/2006/documentManagement/types"/>
    <ds:schemaRef ds:uri="e071261b-6441-4488-ac63-4008f5a77b76"/>
    <ds:schemaRef ds:uri="86bbaa44-43d1-44a8-9feb-119e11ec60a4"/>
    <ds:schemaRef ds:uri="b6c704e3-4f78-43fd-ab7f-033462436133"/>
    <ds:schemaRef ds:uri="45b2afd0-942b-42f3-a2ad-7c9012163f85"/>
    <ds:schemaRef ds:uri="http://www.w3.org/XML/1998/namespace"/>
  </ds:schemaRefs>
</ds:datastoreItem>
</file>

<file path=customXml/itemProps4.xml><?xml version="1.0" encoding="utf-8"?>
<ds:datastoreItem xmlns:ds="http://schemas.openxmlformats.org/officeDocument/2006/customXml" ds:itemID="{D126964C-862D-46BC-AFDC-6FFB1E489188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45b2afd0-942b-42f3-a2ad-7c9012163f85"/>
    <ds:schemaRef ds:uri="b6c704e3-4f78-43fd-ab7f-033462436133"/>
    <ds:schemaRef ds:uri="e8d13587-c200-4847-ac76-54c761923deb"/>
    <ds:schemaRef ds:uri="6d1db4f7-9732-4119-94c5-a782c47b6342"/>
    <ds:schemaRef ds:uri="86bbaa44-43d1-44a8-9feb-119e11ec60a4"/>
    <ds:schemaRef ds:uri="095e3f0d-481a-4032-a086-3cd5ba613b3c"/>
    <ds:schemaRef ds:uri="e071261b-6441-4488-ac63-4008f5a77b76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413</Words>
  <Application>Microsoft Office PowerPoint</Application>
  <PresentationFormat>Breitbild</PresentationFormat>
  <Paragraphs>43</Paragraphs>
  <Slides>6</Slides>
  <Notes>1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8</vt:i4>
      </vt:variant>
      <vt:variant>
        <vt:lpstr>Design</vt:lpstr>
      </vt:variant>
      <vt:variant>
        <vt:i4>3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6</vt:i4>
      </vt:variant>
    </vt:vector>
  </HeadingPairs>
  <TitlesOfParts>
    <vt:vector size="18" baseType="lpstr">
      <vt:lpstr>Approach Koeln</vt:lpstr>
      <vt:lpstr>Approach Koeln SemiBold</vt:lpstr>
      <vt:lpstr>Arial</vt:lpstr>
      <vt:lpstr>Calibri</vt:lpstr>
      <vt:lpstr>Symbol</vt:lpstr>
      <vt:lpstr>Times New Roman</vt:lpstr>
      <vt:lpstr>Verdana</vt:lpstr>
      <vt:lpstr>Wingdings</vt:lpstr>
      <vt:lpstr>Titel</vt:lpstr>
      <vt:lpstr>Inhalt</vt:lpstr>
      <vt:lpstr>Office</vt:lpstr>
      <vt:lpstr>think-cell Folie</vt:lpstr>
      <vt:lpstr>PowerPoint-Präsentation</vt:lpstr>
      <vt:lpstr>PowerPoint-Präsentation</vt:lpstr>
      <vt:lpstr>PowerPoint-Präsentation</vt:lpstr>
      <vt:lpstr>PowerPoint-Präsentation</vt:lpstr>
      <vt:lpstr>Backup </vt:lpstr>
      <vt:lpstr>Vielen Dank </vt:lpstr>
    </vt:vector>
  </TitlesOfParts>
  <Company>Stadt Köln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äsentation 6. PBG KVB</dc:title>
  <dc:creator>Köster, Klaus - 15320</dc:creator>
  <cp:lastModifiedBy>guelpen</cp:lastModifiedBy>
  <cp:revision>26</cp:revision>
  <cp:lastPrinted>2022-06-09T06:22:32Z</cp:lastPrinted>
  <dcterms:created xsi:type="dcterms:W3CDTF">2015-11-05T12:26:38Z</dcterms:created>
  <dcterms:modified xsi:type="dcterms:W3CDTF">2024-05-29T12:02:3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PPT Aktuell Fußzeile anzeigen">
    <vt:bool>true</vt:bool>
  </property>
  <property fmtid="{D5CDD505-2E9C-101B-9397-08002B2CF9AE}" pid="3" name="PPT Aktuell Fußzeile anzeigen Datum">
    <vt:bool>false</vt:bool>
  </property>
  <property fmtid="{D5CDD505-2E9C-101B-9397-08002B2CF9AE}" pid="4" name="PPT Aktuell Fußzeile anzeigen Fußzeile">
    <vt:bool>false</vt:bool>
  </property>
  <property fmtid="{D5CDD505-2E9C-101B-9397-08002B2CF9AE}" pid="5" name="PPT Aktuell Fußzeile anzeigen Nummer">
    <vt:bool>false</vt:bool>
  </property>
  <property fmtid="{D5CDD505-2E9C-101B-9397-08002B2CF9AE}" pid="6" name="Ordner">
    <vt:lpwstr>0 Allgemein</vt:lpwstr>
  </property>
  <property fmtid="{D5CDD505-2E9C-101B-9397-08002B2CF9AE}" pid="7" name="Dateiname">
    <vt:lpwstr>OWA0_JF_X_BR_Oberbürgermeisterin_20210920_1</vt:lpwstr>
  </property>
  <property fmtid="{D5CDD505-2E9C-101B-9397-08002B2CF9AE}" pid="8" name="DistributedTo">
    <vt:lpwstr/>
  </property>
  <property fmtid="{D5CDD505-2E9C-101B-9397-08002B2CF9AE}" pid="9" name="MediaServiceImageTags">
    <vt:lpwstr/>
  </property>
  <property fmtid="{D5CDD505-2E9C-101B-9397-08002B2CF9AE}" pid="10" name="ContentTypeId">
    <vt:lpwstr>0x010100D3640C806E285D40A0F54C079C623342</vt:lpwstr>
  </property>
</Properties>
</file>